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993" r:id="rId5"/>
    <p:sldId id="994" r:id="rId6"/>
    <p:sldId id="995" r:id="rId7"/>
    <p:sldId id="996" r:id="rId8"/>
    <p:sldId id="997" r:id="rId9"/>
    <p:sldId id="1002" r:id="rId10"/>
    <p:sldId id="1003" r:id="rId11"/>
    <p:sldId id="998" r:id="rId12"/>
    <p:sldId id="999" r:id="rId13"/>
    <p:sldId id="1000" r:id="rId14"/>
    <p:sldId id="1001" r:id="rId15"/>
  </p:sldIdLst>
  <p:sldSz cx="12192000" cy="6858000"/>
  <p:notesSz cx="6881813" cy="9296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ana Sanichar (DCP)" initials="S(" lastIdx="1" clrIdx="6">
    <p:extLst>
      <p:ext uri="{19B8F6BF-5375-455C-9EA6-DF929625EA0E}">
        <p15:presenceInfo xmlns:p15="http://schemas.microsoft.com/office/powerpoint/2012/main" userId="S::ssanichar@planning.nyc.gov::98f60692-0231-4d18-8efa-97b8ad03acf8" providerId="AD"/>
      </p:ext>
    </p:extLst>
  </p:cmAuthor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  <p:cmAuthor id="8" name="Maria Free (DCP)" initials="M(" lastIdx="2" clrIdx="7">
    <p:extLst>
      <p:ext uri="{19B8F6BF-5375-455C-9EA6-DF929625EA0E}">
        <p15:presenceInfo xmlns:p15="http://schemas.microsoft.com/office/powerpoint/2012/main" userId="S::mfree@planning.nyc.gov::2a7f77c3-bce6-4d58-9dc6-d902d6f4c355" providerId="AD"/>
      </p:ext>
    </p:extLst>
  </p:cmAuthor>
  <p:cmAuthor id="2" name="Amanda Eyer" initials="AE" lastIdx="7" clrIdx="1">
    <p:extLst>
      <p:ext uri="{19B8F6BF-5375-455C-9EA6-DF929625EA0E}">
        <p15:presenceInfo xmlns:p15="http://schemas.microsoft.com/office/powerpoint/2012/main" userId="S-1-5-21-2808680614-1317938522-479626105-3472" providerId="AD"/>
      </p:ext>
    </p:extLst>
  </p:cmAuthor>
  <p:cmAuthor id="9" name="Laura Smith (DCP)" initials="LS(" lastIdx="3" clrIdx="8">
    <p:extLst>
      <p:ext uri="{19B8F6BF-5375-455C-9EA6-DF929625EA0E}">
        <p15:presenceInfo xmlns:p15="http://schemas.microsoft.com/office/powerpoint/2012/main" userId="Laura Smith (DCP)" providerId="None"/>
      </p:ext>
    </p:extLst>
  </p:cmAuthor>
  <p:cmAuthor id="3" name="Angela Bellisio" initials="AB" lastIdx="1" clrIdx="2">
    <p:extLst>
      <p:ext uri="{19B8F6BF-5375-455C-9EA6-DF929625EA0E}">
        <p15:presenceInfo xmlns:p15="http://schemas.microsoft.com/office/powerpoint/2012/main" userId="S-1-5-21-2808680614-1317938522-479626105-5190" providerId="AD"/>
      </p:ext>
    </p:extLst>
  </p:cmAuthor>
  <p:cmAuthor id="4" name="Wencong" initials="W" lastIdx="1" clrIdx="3"/>
  <p:cmAuthor id="5" name="Conor Clarke" initials="CC" lastIdx="3" clrIdx="4">
    <p:extLst>
      <p:ext uri="{19B8F6BF-5375-455C-9EA6-DF929625EA0E}">
        <p15:presenceInfo xmlns:p15="http://schemas.microsoft.com/office/powerpoint/2012/main" userId="S-1-5-21-2808680614-1317938522-479626105-2431" providerId="AD"/>
      </p:ext>
    </p:extLst>
  </p:cmAuthor>
  <p:cmAuthor id="6" name="Benjamin Huff (DCP)" initials="BH(" lastIdx="28" clrIdx="5">
    <p:extLst>
      <p:ext uri="{19B8F6BF-5375-455C-9EA6-DF929625EA0E}">
        <p15:presenceInfo xmlns:p15="http://schemas.microsoft.com/office/powerpoint/2012/main" userId="S-1-5-21-2808680614-1317938522-479626105-66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13527B"/>
    <a:srgbClr val="7F7F7F"/>
    <a:srgbClr val="FF9E4A"/>
    <a:srgbClr val="729ECE"/>
    <a:srgbClr val="726ECE"/>
    <a:srgbClr val="DB691B"/>
    <a:srgbClr val="FFFFFF"/>
    <a:srgbClr val="00B0F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FD5EF-49D4-4F92-8F23-98A90611C6AD}" v="3980" dt="2022-02-18T21:21:21.686"/>
    <p1510:client id="{0439A0DD-C0B0-C793-1ED7-8AB5285E2A67}" v="1" dt="2022-02-18T14:31:38.819"/>
    <p1510:client id="{0DB6C373-213C-43F5-9A30-7F7050891F52}" v="2399" dt="2022-02-18T20:38:35.173"/>
    <p1510:client id="{26035570-6113-1F86-9FBD-727749C0BC1B}" v="10" dt="2022-02-18T15:01:48.853"/>
    <p1510:client id="{8A279FAE-A616-46EC-9736-9FB15FD89905}" v="235" dt="2022-02-18T20:31:18.693"/>
    <p1510:client id="{ACB21393-5C50-DCE4-161A-3F31A54970EF}" v="177" dt="2022-02-18T17:44:39.371"/>
    <p1510:client id="{BB22D559-51B0-4ACE-88A8-F46ED99F7B25}" v="2288" dt="2022-02-18T21:23:49.151"/>
    <p1510:client id="{D3097D07-6648-3C5D-F475-7EC6D3FD88CA}" v="29" dt="2022-02-18T19:47:26.673"/>
    <p1510:client id="{DA2D46C9-F4E9-05A0-54C4-DD71D3826646}" v="172" dt="2022-02-18T20:20:14.015"/>
    <p1510:client id="{EBF33553-B045-3496-4D92-7E123AC9D52F}" v="2" dt="2022-02-18T15:20:05.4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26" autoAdjust="0"/>
    <p:restoredTop sz="94660"/>
  </p:normalViewPr>
  <p:slideViewPr>
    <p:cSldViewPr snapToGrid="0">
      <p:cViewPr varScale="1">
        <p:scale>
          <a:sx n="79" d="100"/>
          <a:sy n="79" d="100"/>
        </p:scale>
        <p:origin x="816" y="72"/>
      </p:cViewPr>
      <p:guideLst>
        <p:guide orient="horz" pos="42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jun Ma (DCP)" userId="6b140692-16f7-4f54-a783-028f16aab7b0" providerId="ADAL" clId="{0DB6C373-213C-43F5-9A30-7F7050891F52}"/>
    <pc:docChg chg="undo custSel addSld modSld sldOrd">
      <pc:chgData name="Yijun Ma (DCP)" userId="6b140692-16f7-4f54-a783-028f16aab7b0" providerId="ADAL" clId="{0DB6C373-213C-43F5-9A30-7F7050891F52}" dt="2022-02-18T20:38:35.173" v="1129" actId="1076"/>
      <pc:docMkLst>
        <pc:docMk/>
      </pc:docMkLst>
      <pc:sldChg chg="addSp delSp modSp mod ord">
        <pc:chgData name="Yijun Ma (DCP)" userId="6b140692-16f7-4f54-a783-028f16aab7b0" providerId="ADAL" clId="{0DB6C373-213C-43F5-9A30-7F7050891F52}" dt="2022-02-16T21:35:20.878" v="493" actId="1076"/>
        <pc:sldMkLst>
          <pc:docMk/>
          <pc:sldMk cId="3492499758" sldId="958"/>
        </pc:sldMkLst>
        <pc:spChg chg="del mod">
          <ac:chgData name="Yijun Ma (DCP)" userId="6b140692-16f7-4f54-a783-028f16aab7b0" providerId="ADAL" clId="{0DB6C373-213C-43F5-9A30-7F7050891F52}" dt="2022-02-16T21:32:54.696" v="458" actId="478"/>
          <ac:spMkLst>
            <pc:docMk/>
            <pc:sldMk cId="3492499758" sldId="958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2:56.789" v="459" actId="478"/>
          <ac:spMkLst>
            <pc:docMk/>
            <pc:sldMk cId="3492499758" sldId="958"/>
            <ac:spMk id="16" creationId="{1420B199-EC19-4047-9266-DAE00A33ECCA}"/>
          </ac:spMkLst>
        </pc:spChg>
        <pc:graphicFrameChg chg="add del mod">
          <ac:chgData name="Yijun Ma (DCP)" userId="6b140692-16f7-4f54-a783-028f16aab7b0" providerId="ADAL" clId="{0DB6C373-213C-43F5-9A30-7F7050891F52}" dt="2022-02-16T21:30:06.928" v="399"/>
          <ac:graphicFrameMkLst>
            <pc:docMk/>
            <pc:sldMk cId="3492499758" sldId="958"/>
            <ac:graphicFrameMk id="13" creationId="{A9FD3654-CC46-4156-ACBA-AC24E4AC8532}"/>
          </ac:graphicFrameMkLst>
        </pc:graphicFrameChg>
        <pc:graphicFrameChg chg="add mod modGraphic">
          <ac:chgData name="Yijun Ma (DCP)" userId="6b140692-16f7-4f54-a783-028f16aab7b0" providerId="ADAL" clId="{0DB6C373-213C-43F5-9A30-7F7050891F52}" dt="2022-02-16T21:35:20.878" v="493" actId="1076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picChg chg="add del mod">
          <ac:chgData name="Yijun Ma (DCP)" userId="6b140692-16f7-4f54-a783-028f16aab7b0" providerId="ADAL" clId="{0DB6C373-213C-43F5-9A30-7F7050891F52}" dt="2022-02-16T17:16:55.644" v="5" actId="478"/>
          <ac:picMkLst>
            <pc:docMk/>
            <pc:sldMk cId="3492499758" sldId="958"/>
            <ac:picMk id="3" creationId="{97B3CBCA-0C9E-4135-A50B-95388638B3B4}"/>
          </ac:picMkLst>
        </pc:picChg>
        <pc:picChg chg="add del mod">
          <ac:chgData name="Yijun Ma (DCP)" userId="6b140692-16f7-4f54-a783-028f16aab7b0" providerId="ADAL" clId="{0DB6C373-213C-43F5-9A30-7F7050891F52}" dt="2022-02-16T18:12:21.923" v="150" actId="478"/>
          <ac:picMkLst>
            <pc:docMk/>
            <pc:sldMk cId="3492499758" sldId="958"/>
            <ac:picMk id="3" creationId="{F946C122-9410-4F7E-9223-ABABB45FC12E}"/>
          </ac:picMkLst>
        </pc:picChg>
        <pc:picChg chg="add del mod">
          <ac:chgData name="Yijun Ma (DCP)" userId="6b140692-16f7-4f54-a783-028f16aab7b0" providerId="ADAL" clId="{0DB6C373-213C-43F5-9A30-7F7050891F52}" dt="2022-02-16T18:10:48.355" v="147" actId="478"/>
          <ac:picMkLst>
            <pc:docMk/>
            <pc:sldMk cId="3492499758" sldId="958"/>
            <ac:picMk id="5" creationId="{045A5847-035A-45AC-83CA-1C9737D0A210}"/>
          </ac:picMkLst>
        </pc:picChg>
        <pc:picChg chg="add del mod">
          <ac:chgData name="Yijun Ma (DCP)" userId="6b140692-16f7-4f54-a783-028f16aab7b0" providerId="ADAL" clId="{0DB6C373-213C-43F5-9A30-7F7050891F52}" dt="2022-02-16T20:26:28.068" v="327" actId="478"/>
          <ac:picMkLst>
            <pc:docMk/>
            <pc:sldMk cId="3492499758" sldId="958"/>
            <ac:picMk id="8" creationId="{14850E0E-2858-4D2C-A8AE-A388A73FC917}"/>
          </ac:picMkLst>
        </pc:picChg>
        <pc:picChg chg="add mod">
          <ac:chgData name="Yijun Ma (DCP)" userId="6b140692-16f7-4f54-a783-028f16aab7b0" providerId="ADAL" clId="{0DB6C373-213C-43F5-9A30-7F7050891F52}" dt="2022-02-16T20:26:30.557" v="329" actId="27614"/>
          <ac:picMkLst>
            <pc:docMk/>
            <pc:sldMk cId="3492499758" sldId="958"/>
            <ac:picMk id="12" creationId="{96F504CB-9B8B-4C7F-BCE6-BD57A5BD3201}"/>
          </ac:picMkLst>
        </pc:picChg>
        <pc:picChg chg="del mod">
          <ac:chgData name="Yijun Ma (DCP)" userId="6b140692-16f7-4f54-a783-028f16aab7b0" providerId="ADAL" clId="{0DB6C373-213C-43F5-9A30-7F7050891F52}" dt="2022-02-16T17:16:47.468" v="3" actId="478"/>
          <ac:picMkLst>
            <pc:docMk/>
            <pc:sldMk cId="3492499758" sldId="958"/>
            <ac:picMk id="16" creationId="{65B3E014-3E6D-426B-B87C-96452423822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53.427" v="550" actId="108"/>
        <pc:sldMkLst>
          <pc:docMk/>
          <pc:sldMk cId="2192007500" sldId="959"/>
        </pc:sldMkLst>
        <pc:spChg chg="mod">
          <ac:chgData name="Yijun Ma (DCP)" userId="6b140692-16f7-4f54-a783-028f16aab7b0" providerId="ADAL" clId="{0DB6C373-213C-43F5-9A30-7F7050891F52}" dt="2022-02-16T18:14:31.956" v="169" actId="6549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9:41.860" v="545" actId="478"/>
          <ac:spMkLst>
            <pc:docMk/>
            <pc:sldMk cId="2192007500" sldId="95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53.427" v="550" actId="10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picChg chg="add del mod">
          <ac:chgData name="Yijun Ma (DCP)" userId="6b140692-16f7-4f54-a783-028f16aab7b0" providerId="ADAL" clId="{0DB6C373-213C-43F5-9A30-7F7050891F52}" dt="2022-02-16T20:37:17.813" v="344" actId="478"/>
          <ac:picMkLst>
            <pc:docMk/>
            <pc:sldMk cId="2192007500" sldId="959"/>
            <ac:picMk id="3" creationId="{4BC95A52-DD40-4C31-B301-BFD94D54AC28}"/>
          </ac:picMkLst>
        </pc:picChg>
        <pc:picChg chg="del">
          <ac:chgData name="Yijun Ma (DCP)" userId="6b140692-16f7-4f54-a783-028f16aab7b0" providerId="ADAL" clId="{0DB6C373-213C-43F5-9A30-7F7050891F52}" dt="2022-02-16T18:14:33.572" v="170" actId="478"/>
          <ac:picMkLst>
            <pc:docMk/>
            <pc:sldMk cId="2192007500" sldId="959"/>
            <ac:picMk id="5" creationId="{045A5847-035A-45AC-83CA-1C9737D0A210}"/>
          </ac:picMkLst>
        </pc:picChg>
        <pc:picChg chg="add mod">
          <ac:chgData name="Yijun Ma (DCP)" userId="6b140692-16f7-4f54-a783-028f16aab7b0" providerId="ADAL" clId="{0DB6C373-213C-43F5-9A30-7F7050891F52}" dt="2022-02-16T20:37:19.556" v="347" actId="1076"/>
          <ac:picMkLst>
            <pc:docMk/>
            <pc:sldMk cId="2192007500" sldId="959"/>
            <ac:picMk id="8" creationId="{BEDA3F2C-01F8-43B0-AF61-7F198BDD200C}"/>
          </ac:picMkLst>
        </pc:picChg>
      </pc:sldChg>
      <pc:sldChg chg="delSp modSp new mod">
        <pc:chgData name="Yijun Ma (DCP)" userId="6b140692-16f7-4f54-a783-028f16aab7b0" providerId="ADAL" clId="{0DB6C373-213C-43F5-9A30-7F7050891F52}" dt="2022-02-16T17:28:45.554" v="77" actId="20577"/>
        <pc:sldMkLst>
          <pc:docMk/>
          <pc:sldMk cId="20884071" sldId="960"/>
        </pc:sldMkLst>
        <pc:spChg chg="mod">
          <ac:chgData name="Yijun Ma (DCP)" userId="6b140692-16f7-4f54-a783-028f16aab7b0" providerId="ADAL" clId="{0DB6C373-213C-43F5-9A30-7F7050891F52}" dt="2022-02-16T17:28:33.122" v="39" actId="20577"/>
          <ac:spMkLst>
            <pc:docMk/>
            <pc:sldMk cId="20884071" sldId="960"/>
            <ac:spMk id="2" creationId="{95FA48B9-1C99-41CA-9F4D-7DA0EEF63206}"/>
          </ac:spMkLst>
        </pc:spChg>
        <pc:spChg chg="del">
          <ac:chgData name="Yijun Ma (DCP)" userId="6b140692-16f7-4f54-a783-028f16aab7b0" providerId="ADAL" clId="{0DB6C373-213C-43F5-9A30-7F7050891F52}" dt="2022-02-16T17:28:26.819" v="12" actId="478"/>
          <ac:spMkLst>
            <pc:docMk/>
            <pc:sldMk cId="20884071" sldId="960"/>
            <ac:spMk id="3" creationId="{3A7B6AEC-EF07-4AED-9C7C-9721AFB9368D}"/>
          </ac:spMkLst>
        </pc:spChg>
        <pc:spChg chg="mod">
          <ac:chgData name="Yijun Ma (DCP)" userId="6b140692-16f7-4f54-a783-028f16aab7b0" providerId="ADAL" clId="{0DB6C373-213C-43F5-9A30-7F7050891F52}" dt="2022-02-16T17:28:45.554" v="77" actId="20577"/>
          <ac:spMkLst>
            <pc:docMk/>
            <pc:sldMk cId="20884071" sldId="960"/>
            <ac:spMk id="5" creationId="{7C99F8EB-E6B5-4673-A056-AF6C562FFEBA}"/>
          </ac:spMkLst>
        </pc:spChg>
      </pc:sldChg>
      <pc:sldChg chg="addSp delSp modSp new mod">
        <pc:chgData name="Yijun Ma (DCP)" userId="6b140692-16f7-4f54-a783-028f16aab7b0" providerId="ADAL" clId="{0DB6C373-213C-43F5-9A30-7F7050891F52}" dt="2022-02-16T22:23:12.196" v="605" actId="1076"/>
        <pc:sldMkLst>
          <pc:docMk/>
          <pc:sldMk cId="34731849" sldId="961"/>
        </pc:sldMkLst>
        <pc:spChg chg="mod">
          <ac:chgData name="Yijun Ma (DCP)" userId="6b140692-16f7-4f54-a783-028f16aab7b0" providerId="ADAL" clId="{0DB6C373-213C-43F5-9A30-7F7050891F52}" dt="2022-02-16T17:29:35.283" v="102" actId="20577"/>
          <ac:spMkLst>
            <pc:docMk/>
            <pc:sldMk cId="34731849" sldId="961"/>
            <ac:spMk id="2" creationId="{DBB2523B-F74E-4C32-B043-159EAF21F279}"/>
          </ac:spMkLst>
        </pc:spChg>
        <pc:spChg chg="del">
          <ac:chgData name="Yijun Ma (DCP)" userId="6b140692-16f7-4f54-a783-028f16aab7b0" providerId="ADAL" clId="{0DB6C373-213C-43F5-9A30-7F7050891F52}" dt="2022-02-16T17:29:37.876" v="103" actId="478"/>
          <ac:spMkLst>
            <pc:docMk/>
            <pc:sldMk cId="34731849" sldId="961"/>
            <ac:spMk id="3" creationId="{D9E4EE70-BE89-4D1A-A7CD-60F2422B3895}"/>
          </ac:spMkLst>
        </pc:spChg>
        <pc:spChg chg="del">
          <ac:chgData name="Yijun Ma (DCP)" userId="6b140692-16f7-4f54-a783-028f16aab7b0" providerId="ADAL" clId="{0DB6C373-213C-43F5-9A30-7F7050891F52}" dt="2022-02-16T17:29:38.756" v="104" actId="478"/>
          <ac:spMkLst>
            <pc:docMk/>
            <pc:sldMk cId="34731849" sldId="961"/>
            <ac:spMk id="5" creationId="{F7558BFF-8B37-41AB-924D-B15B1AAF5B17}"/>
          </ac:spMkLst>
        </pc:spChg>
        <pc:picChg chg="add del mod">
          <ac:chgData name="Yijun Ma (DCP)" userId="6b140692-16f7-4f54-a783-028f16aab7b0" providerId="ADAL" clId="{0DB6C373-213C-43F5-9A30-7F7050891F52}" dt="2022-02-16T22:07:09.986" v="560" actId="478"/>
          <ac:picMkLst>
            <pc:docMk/>
            <pc:sldMk cId="34731849" sldId="961"/>
            <ac:picMk id="5" creationId="{C221D71E-4A0F-4ED6-B468-A94DDE395DA7}"/>
          </ac:picMkLst>
        </pc:picChg>
        <pc:picChg chg="add del mod">
          <ac:chgData name="Yijun Ma (DCP)" userId="6b140692-16f7-4f54-a783-028f16aab7b0" providerId="ADAL" clId="{0DB6C373-213C-43F5-9A30-7F7050891F52}" dt="2022-02-16T22:08:09.394" v="567" actId="478"/>
          <ac:picMkLst>
            <pc:docMk/>
            <pc:sldMk cId="34731849" sldId="961"/>
            <ac:picMk id="8" creationId="{057DF7BE-8289-41A9-97CE-BCEF0C706CAA}"/>
          </ac:picMkLst>
        </pc:picChg>
        <pc:picChg chg="add del mod">
          <ac:chgData name="Yijun Ma (DCP)" userId="6b140692-16f7-4f54-a783-028f16aab7b0" providerId="ADAL" clId="{0DB6C373-213C-43F5-9A30-7F7050891F52}" dt="2022-02-16T22:10:19.876" v="571" actId="478"/>
          <ac:picMkLst>
            <pc:docMk/>
            <pc:sldMk cId="34731849" sldId="961"/>
            <ac:picMk id="10" creationId="{254773A9-B81A-4873-A3E4-558449908036}"/>
          </ac:picMkLst>
        </pc:picChg>
        <pc:picChg chg="add del mod">
          <ac:chgData name="Yijun Ma (DCP)" userId="6b140692-16f7-4f54-a783-028f16aab7b0" providerId="ADAL" clId="{0DB6C373-213C-43F5-9A30-7F7050891F52}" dt="2022-02-16T22:11:17.765" v="579" actId="478"/>
          <ac:picMkLst>
            <pc:docMk/>
            <pc:sldMk cId="34731849" sldId="961"/>
            <ac:picMk id="12" creationId="{781183DA-6F43-46D3-8E41-E5C54862DFE3}"/>
          </ac:picMkLst>
        </pc:picChg>
        <pc:picChg chg="add del mod">
          <ac:chgData name="Yijun Ma (DCP)" userId="6b140692-16f7-4f54-a783-028f16aab7b0" providerId="ADAL" clId="{0DB6C373-213C-43F5-9A30-7F7050891F52}" dt="2022-02-16T22:11:53.365" v="585" actId="478"/>
          <ac:picMkLst>
            <pc:docMk/>
            <pc:sldMk cId="34731849" sldId="961"/>
            <ac:picMk id="14" creationId="{8B8AAF85-8B7F-4492-A7C6-FC9B620AA8FC}"/>
          </ac:picMkLst>
        </pc:picChg>
        <pc:picChg chg="add del mod">
          <ac:chgData name="Yijun Ma (DCP)" userId="6b140692-16f7-4f54-a783-028f16aab7b0" providerId="ADAL" clId="{0DB6C373-213C-43F5-9A30-7F7050891F52}" dt="2022-02-16T22:23:07.165" v="603" actId="478"/>
          <ac:picMkLst>
            <pc:docMk/>
            <pc:sldMk cId="34731849" sldId="961"/>
            <ac:picMk id="16" creationId="{D7A59AA8-ADC6-4171-8069-97CEB3BF7B54}"/>
          </ac:picMkLst>
        </pc:picChg>
        <pc:picChg chg="add mod">
          <ac:chgData name="Yijun Ma (DCP)" userId="6b140692-16f7-4f54-a783-028f16aab7b0" providerId="ADAL" clId="{0DB6C373-213C-43F5-9A30-7F7050891F52}" dt="2022-02-16T22:23:12.196" v="605" actId="1076"/>
          <ac:picMkLst>
            <pc:docMk/>
            <pc:sldMk cId="34731849" sldId="961"/>
            <ac:picMk id="18" creationId="{CD42B7DA-2DCC-4AA4-A75D-C2C2744BC7E1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2:24:30.789" v="610" actId="1076"/>
        <pc:sldMkLst>
          <pc:docMk/>
          <pc:sldMk cId="2048314846" sldId="962"/>
        </pc:sldMkLst>
        <pc:spChg chg="mod">
          <ac:chgData name="Yijun Ma (DCP)" userId="6b140692-16f7-4f54-a783-028f16aab7b0" providerId="ADAL" clId="{0DB6C373-213C-43F5-9A30-7F7050891F52}" dt="2022-02-16T17:29:50.083" v="142" actId="20577"/>
          <ac:spMkLst>
            <pc:docMk/>
            <pc:sldMk cId="2048314846" sldId="962"/>
            <ac:spMk id="2" creationId="{DBB2523B-F74E-4C32-B043-159EAF21F279}"/>
          </ac:spMkLst>
        </pc:spChg>
        <pc:picChg chg="add del mod">
          <ac:chgData name="Yijun Ma (DCP)" userId="6b140692-16f7-4f54-a783-028f16aab7b0" providerId="ADAL" clId="{0DB6C373-213C-43F5-9A30-7F7050891F52}" dt="2022-02-16T22:24:29.277" v="608" actId="478"/>
          <ac:picMkLst>
            <pc:docMk/>
            <pc:sldMk cId="2048314846" sldId="962"/>
            <ac:picMk id="5" creationId="{8C85B442-0930-4EBE-BDB6-99A81772D986}"/>
          </ac:picMkLst>
        </pc:picChg>
        <pc:picChg chg="add mod">
          <ac:chgData name="Yijun Ma (DCP)" userId="6b140692-16f7-4f54-a783-028f16aab7b0" providerId="ADAL" clId="{0DB6C373-213C-43F5-9A30-7F7050891F52}" dt="2022-02-16T22:24:30.789" v="610" actId="1076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add mod">
        <pc:chgData name="Yijun Ma (DCP)" userId="6b140692-16f7-4f54-a783-028f16aab7b0" providerId="ADAL" clId="{0DB6C373-213C-43F5-9A30-7F7050891F52}" dt="2022-02-16T18:24:45.223" v="182" actId="20577"/>
        <pc:sldMkLst>
          <pc:docMk/>
          <pc:sldMk cId="3426116561" sldId="963"/>
        </pc:sldMkLst>
        <pc:spChg chg="mod">
          <ac:chgData name="Yijun Ma (DCP)" userId="6b140692-16f7-4f54-a783-028f16aab7b0" providerId="ADAL" clId="{0DB6C373-213C-43F5-9A30-7F7050891F52}" dt="2022-02-16T18:24:45.223" v="182" actId="20577"/>
          <ac:spMkLst>
            <pc:docMk/>
            <pc:sldMk cId="3426116561" sldId="963"/>
            <ac:spMk id="2" creationId="{95FA48B9-1C99-41CA-9F4D-7DA0EEF63206}"/>
          </ac:spMkLst>
        </pc:spChg>
      </pc:sldChg>
      <pc:sldChg chg="addSp delSp modSp add mod ord">
        <pc:chgData name="Yijun Ma (DCP)" userId="6b140692-16f7-4f54-a783-028f16aab7b0" providerId="ADAL" clId="{0DB6C373-213C-43F5-9A30-7F7050891F52}" dt="2022-02-16T21:35:16.062" v="492" actId="1076"/>
        <pc:sldMkLst>
          <pc:docMk/>
          <pc:sldMk cId="2815648500" sldId="964"/>
        </pc:sldMkLst>
        <pc:spChg chg="mod">
          <ac:chgData name="Yijun Ma (DCP)" userId="6b140692-16f7-4f54-a783-028f16aab7b0" providerId="ADAL" clId="{0DB6C373-213C-43F5-9A30-7F7050891F52}" dt="2022-02-16T18:44:15.723" v="201" actId="20577"/>
          <ac:spMkLst>
            <pc:docMk/>
            <pc:sldMk cId="2815648500" sldId="964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1:14.546" v="428" actId="478"/>
          <ac:spMkLst>
            <pc:docMk/>
            <pc:sldMk cId="2815648500" sldId="964"/>
            <ac:spMk id="10" creationId="{49294274-A3D7-4BDA-9588-09B1643F3AF4}"/>
          </ac:spMkLst>
        </pc:spChg>
        <pc:spChg chg="add del mod">
          <ac:chgData name="Yijun Ma (DCP)" userId="6b140692-16f7-4f54-a783-028f16aab7b0" providerId="ADAL" clId="{0DB6C373-213C-43F5-9A30-7F7050891F52}" dt="2022-02-16T21:34:03.558" v="473" actId="478"/>
          <ac:spMkLst>
            <pc:docMk/>
            <pc:sldMk cId="2815648500" sldId="964"/>
            <ac:spMk id="11" creationId="{C232F436-BF44-4671-9FD3-DC4F51DEC499}"/>
          </ac:spMkLst>
        </pc:spChg>
        <pc:graphicFrameChg chg="add mod modGraphic">
          <ac:chgData name="Yijun Ma (DCP)" userId="6b140692-16f7-4f54-a783-028f16aab7b0" providerId="ADAL" clId="{0DB6C373-213C-43F5-9A30-7F7050891F52}" dt="2022-02-16T21:35:16.062" v="492" actId="1076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6T21:34:26.167" v="480"/>
          <ac:graphicFrameMkLst>
            <pc:docMk/>
            <pc:sldMk cId="2815648500" sldId="964"/>
            <ac:graphicFrameMk id="13" creationId="{6102EF9A-654A-4625-BB8A-C9F46FB51114}"/>
          </ac:graphicFrameMkLst>
        </pc:graphicFrameChg>
        <pc:picChg chg="del">
          <ac:chgData name="Yijun Ma (DCP)" userId="6b140692-16f7-4f54-a783-028f16aab7b0" providerId="ADAL" clId="{0DB6C373-213C-43F5-9A30-7F7050891F52}" dt="2022-02-16T18:44:21.595" v="203" actId="478"/>
          <ac:picMkLst>
            <pc:docMk/>
            <pc:sldMk cId="2815648500" sldId="964"/>
            <ac:picMk id="3" creationId="{4BC95A52-DD40-4C31-B301-BFD94D54AC28}"/>
          </ac:picMkLst>
        </pc:picChg>
        <pc:picChg chg="add del mod">
          <ac:chgData name="Yijun Ma (DCP)" userId="6b140692-16f7-4f54-a783-028f16aab7b0" providerId="ADAL" clId="{0DB6C373-213C-43F5-9A30-7F7050891F52}" dt="2022-02-16T20:28:02.871" v="331" actId="478"/>
          <ac:picMkLst>
            <pc:docMk/>
            <pc:sldMk cId="2815648500" sldId="964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8:07.654" v="333" actId="1076"/>
          <ac:picMkLst>
            <pc:docMk/>
            <pc:sldMk cId="2815648500" sldId="964"/>
            <ac:picMk id="8" creationId="{E852F388-40B0-49C1-9826-9AA2505C9419}"/>
          </ac:picMkLst>
        </pc:picChg>
      </pc:sldChg>
      <pc:sldChg chg="modSp add mod ord">
        <pc:chgData name="Yijun Ma (DCP)" userId="6b140692-16f7-4f54-a783-028f16aab7b0" providerId="ADAL" clId="{0DB6C373-213C-43F5-9A30-7F7050891F52}" dt="2022-02-16T18:44:29.659" v="209"/>
        <pc:sldMkLst>
          <pc:docMk/>
          <pc:sldMk cId="214728136" sldId="965"/>
        </pc:sldMkLst>
        <pc:spChg chg="mod">
          <ac:chgData name="Yijun Ma (DCP)" userId="6b140692-16f7-4f54-a783-028f16aab7b0" providerId="ADAL" clId="{0DB6C373-213C-43F5-9A30-7F7050891F52}" dt="2022-02-16T18:44:19.553" v="202"/>
          <ac:spMkLst>
            <pc:docMk/>
            <pc:sldMk cId="214728136" sldId="965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5:39.399" v="500" actId="108"/>
        <pc:sldMkLst>
          <pc:docMk/>
          <pc:sldMk cId="2946575374" sldId="966"/>
        </pc:sldMkLst>
        <pc:spChg chg="mod">
          <ac:chgData name="Yijun Ma (DCP)" userId="6b140692-16f7-4f54-a783-028f16aab7b0" providerId="ADAL" clId="{0DB6C373-213C-43F5-9A30-7F7050891F52}" dt="2022-02-16T18:55:43.870" v="219" actId="20577"/>
          <ac:spMkLst>
            <pc:docMk/>
            <pc:sldMk cId="2946575374" sldId="966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29.879" v="495" actId="478"/>
          <ac:spMkLst>
            <pc:docMk/>
            <pc:sldMk cId="2946575374" sldId="966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5:39.399" v="500" actId="10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picChg chg="add del mod">
          <ac:chgData name="Yijun Ma (DCP)" userId="6b140692-16f7-4f54-a783-028f16aab7b0" providerId="ADAL" clId="{0DB6C373-213C-43F5-9A30-7F7050891F52}" dt="2022-02-16T20:29:15.592" v="335" actId="478"/>
          <ac:picMkLst>
            <pc:docMk/>
            <pc:sldMk cId="2946575374" sldId="966"/>
            <ac:picMk id="3" creationId="{0DED69DC-C217-466A-8A86-AAE7818F5DD8}"/>
          </ac:picMkLst>
        </pc:picChg>
        <pc:picChg chg="del">
          <ac:chgData name="Yijun Ma (DCP)" userId="6b140692-16f7-4f54-a783-028f16aab7b0" providerId="ADAL" clId="{0DB6C373-213C-43F5-9A30-7F7050891F52}" dt="2022-02-16T18:55:46.765" v="220" actId="478"/>
          <ac:picMkLst>
            <pc:docMk/>
            <pc:sldMk cId="2946575374" sldId="966"/>
            <ac:picMk id="4" creationId="{D6889B30-CD90-4884-80D5-2AE95B09F407}"/>
          </ac:picMkLst>
        </pc:picChg>
        <pc:picChg chg="add mod">
          <ac:chgData name="Yijun Ma (DCP)" userId="6b140692-16f7-4f54-a783-028f16aab7b0" providerId="ADAL" clId="{0DB6C373-213C-43F5-9A30-7F7050891F52}" dt="2022-02-16T20:29:18.086" v="338" actId="962"/>
          <ac:picMkLst>
            <pc:docMk/>
            <pc:sldMk cId="2946575374" sldId="966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18:55:57.155" v="224"/>
        <pc:sldMkLst>
          <pc:docMk/>
          <pc:sldMk cId="2377291520" sldId="967"/>
        </pc:sldMkLst>
        <pc:spChg chg="mod">
          <ac:chgData name="Yijun Ma (DCP)" userId="6b140692-16f7-4f54-a783-028f16aab7b0" providerId="ADAL" clId="{0DB6C373-213C-43F5-9A30-7F7050891F52}" dt="2022-02-16T18:55:57.155" v="224"/>
          <ac:spMkLst>
            <pc:docMk/>
            <pc:sldMk cId="2377291520" sldId="967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6:03.023" v="507" actId="108"/>
        <pc:sldMkLst>
          <pc:docMk/>
          <pc:sldMk cId="3135331644" sldId="968"/>
        </pc:sldMkLst>
        <pc:spChg chg="mod">
          <ac:chgData name="Yijun Ma (DCP)" userId="6b140692-16f7-4f54-a783-028f16aab7b0" providerId="ADAL" clId="{0DB6C373-213C-43F5-9A30-7F7050891F52}" dt="2022-02-16T19:38:03.749" v="237" actId="20577"/>
          <ac:spMkLst>
            <pc:docMk/>
            <pc:sldMk cId="3135331644" sldId="968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5:48.776" v="501" actId="478"/>
          <ac:spMkLst>
            <pc:docMk/>
            <pc:sldMk cId="3135331644" sldId="968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6:03.023" v="507" actId="10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picChg chg="del">
          <ac:chgData name="Yijun Ma (DCP)" userId="6b140692-16f7-4f54-a783-028f16aab7b0" providerId="ADAL" clId="{0DB6C373-213C-43F5-9A30-7F7050891F52}" dt="2022-02-16T19:41:58.998" v="240" actId="478"/>
          <ac:picMkLst>
            <pc:docMk/>
            <pc:sldMk cId="3135331644" sldId="968"/>
            <ac:picMk id="3" creationId="{0DED69DC-C217-466A-8A86-AAE7818F5DD8}"/>
          </ac:picMkLst>
        </pc:picChg>
        <pc:picChg chg="add del mod">
          <ac:chgData name="Yijun Ma (DCP)" userId="6b140692-16f7-4f54-a783-028f16aab7b0" providerId="ADAL" clId="{0DB6C373-213C-43F5-9A30-7F7050891F52}" dt="2022-02-16T20:32:57.694" v="340" actId="478"/>
          <ac:picMkLst>
            <pc:docMk/>
            <pc:sldMk cId="3135331644" sldId="968"/>
            <ac:picMk id="4" creationId="{CF21294A-EA0F-41F2-8F10-17AB69B79623}"/>
          </ac:picMkLst>
        </pc:picChg>
        <pc:picChg chg="add mod">
          <ac:chgData name="Yijun Ma (DCP)" userId="6b140692-16f7-4f54-a783-028f16aab7b0" providerId="ADAL" clId="{0DB6C373-213C-43F5-9A30-7F7050891F52}" dt="2022-02-16T20:32:59.934" v="342" actId="1076"/>
          <ac:picMkLst>
            <pc:docMk/>
            <pc:sldMk cId="3135331644" sldId="968"/>
            <ac:picMk id="8" creationId="{BF3389A9-216F-4190-9E50-2289D2E9F629}"/>
          </ac:picMkLst>
        </pc:picChg>
      </pc:sldChg>
      <pc:sldChg chg="modSp add mod">
        <pc:chgData name="Yijun Ma (DCP)" userId="6b140692-16f7-4f54-a783-028f16aab7b0" providerId="ADAL" clId="{0DB6C373-213C-43F5-9A30-7F7050891F52}" dt="2022-02-16T19:38:08.554" v="238"/>
        <pc:sldMkLst>
          <pc:docMk/>
          <pc:sldMk cId="3985847910" sldId="969"/>
        </pc:sldMkLst>
        <pc:spChg chg="mod">
          <ac:chgData name="Yijun Ma (DCP)" userId="6b140692-16f7-4f54-a783-028f16aab7b0" providerId="ADAL" clId="{0DB6C373-213C-43F5-9A30-7F7050891F52}" dt="2022-02-16T19:38:08.554" v="238"/>
          <ac:spMkLst>
            <pc:docMk/>
            <pc:sldMk cId="3985847910" sldId="969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7:38.320" v="514" actId="108"/>
        <pc:sldMkLst>
          <pc:docMk/>
          <pc:sldMk cId="2959194026" sldId="970"/>
        </pc:sldMkLst>
        <pc:spChg chg="mod">
          <ac:chgData name="Yijun Ma (DCP)" userId="6b140692-16f7-4f54-a783-028f16aab7b0" providerId="ADAL" clId="{0DB6C373-213C-43F5-9A30-7F7050891F52}" dt="2022-02-16T19:52:04.807" v="253" actId="20577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18.009" v="508" actId="478"/>
          <ac:spMkLst>
            <pc:docMk/>
            <pc:sldMk cId="2959194026" sldId="970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7:38.320" v="514" actId="10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picChg chg="add mod">
          <ac:chgData name="Yijun Ma (DCP)" userId="6b140692-16f7-4f54-a783-028f16aab7b0" providerId="ADAL" clId="{0DB6C373-213C-43F5-9A30-7F7050891F52}" dt="2022-02-16T19:52:27.812" v="258" actId="27614"/>
          <ac:picMkLst>
            <pc:docMk/>
            <pc:sldMk cId="2959194026" sldId="970"/>
            <ac:picMk id="3" creationId="{E60A0B68-2BA4-434A-A047-23A4853E83C9}"/>
          </ac:picMkLst>
        </pc:picChg>
        <pc:picChg chg="del">
          <ac:chgData name="Yijun Ma (DCP)" userId="6b140692-16f7-4f54-a783-028f16aab7b0" providerId="ADAL" clId="{0DB6C373-213C-43F5-9A30-7F7050891F52}" dt="2022-02-16T19:52:23.416" v="255" actId="478"/>
          <ac:picMkLst>
            <pc:docMk/>
            <pc:sldMk cId="2959194026" sldId="970"/>
            <ac:picMk id="4" creationId="{CF21294A-EA0F-41F2-8F10-17AB69B79623}"/>
          </ac:picMkLst>
        </pc:picChg>
      </pc:sldChg>
      <pc:sldChg chg="modSp add mod">
        <pc:chgData name="Yijun Ma (DCP)" userId="6b140692-16f7-4f54-a783-028f16aab7b0" providerId="ADAL" clId="{0DB6C373-213C-43F5-9A30-7F7050891F52}" dt="2022-02-16T19:52:10.204" v="254"/>
        <pc:sldMkLst>
          <pc:docMk/>
          <pc:sldMk cId="3158449188" sldId="971"/>
        </pc:sldMkLst>
        <pc:spChg chg="mod">
          <ac:chgData name="Yijun Ma (DCP)" userId="6b140692-16f7-4f54-a783-028f16aab7b0" providerId="ADAL" clId="{0DB6C373-213C-43F5-9A30-7F7050891F52}" dt="2022-02-16T19:52:10.204" v="254"/>
          <ac:spMkLst>
            <pc:docMk/>
            <pc:sldMk cId="3158449188" sldId="971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10.721" v="522" actId="108"/>
        <pc:sldMkLst>
          <pc:docMk/>
          <pc:sldMk cId="505836785" sldId="972"/>
        </pc:sldMkLst>
        <pc:spChg chg="mod">
          <ac:chgData name="Yijun Ma (DCP)" userId="6b140692-16f7-4f54-a783-028f16aab7b0" providerId="ADAL" clId="{0DB6C373-213C-43F5-9A30-7F7050891F52}" dt="2022-02-16T20:03:35.344" v="266" actId="6549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7:58.746" v="516" actId="478"/>
          <ac:spMkLst>
            <pc:docMk/>
            <pc:sldMk cId="505836785" sldId="972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10.721" v="522" actId="10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picChg chg="del">
          <ac:chgData name="Yijun Ma (DCP)" userId="6b140692-16f7-4f54-a783-028f16aab7b0" providerId="ADAL" clId="{0DB6C373-213C-43F5-9A30-7F7050891F52}" dt="2022-02-16T20:03:47.231" v="269" actId="478"/>
          <ac:picMkLst>
            <pc:docMk/>
            <pc:sldMk cId="505836785" sldId="972"/>
            <ac:picMk id="3" creationId="{E60A0B68-2BA4-434A-A047-23A4853E83C9}"/>
          </ac:picMkLst>
        </pc:picChg>
        <pc:picChg chg="add del mod">
          <ac:chgData name="Yijun Ma (DCP)" userId="6b140692-16f7-4f54-a783-028f16aab7b0" providerId="ADAL" clId="{0DB6C373-213C-43F5-9A30-7F7050891F52}" dt="2022-02-16T20:04:20.993" v="272" actId="478"/>
          <ac:picMkLst>
            <pc:docMk/>
            <pc:sldMk cId="505836785" sldId="972"/>
            <ac:picMk id="4" creationId="{A290855C-7D70-4405-9AC8-85B95BACDFB6}"/>
          </ac:picMkLst>
        </pc:picChg>
        <pc:picChg chg="add mod">
          <ac:chgData name="Yijun Ma (DCP)" userId="6b140692-16f7-4f54-a783-028f16aab7b0" providerId="ADAL" clId="{0DB6C373-213C-43F5-9A30-7F7050891F52}" dt="2022-02-16T20:04:27.404" v="276" actId="962"/>
          <ac:picMkLst>
            <pc:docMk/>
            <pc:sldMk cId="505836785" sldId="972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03:41.768" v="267"/>
        <pc:sldMkLst>
          <pc:docMk/>
          <pc:sldMk cId="2951351453" sldId="973"/>
        </pc:sldMkLst>
        <pc:spChg chg="mod">
          <ac:chgData name="Yijun Ma (DCP)" userId="6b140692-16f7-4f54-a783-028f16aab7b0" providerId="ADAL" clId="{0DB6C373-213C-43F5-9A30-7F7050891F52}" dt="2022-02-16T20:03:41.768" v="267"/>
          <ac:spMkLst>
            <pc:docMk/>
            <pc:sldMk cId="2951351453" sldId="973"/>
            <ac:spMk id="2" creationId="{95FA48B9-1C99-41CA-9F4D-7DA0EEF63206}"/>
          </ac:spMkLst>
        </pc:spChg>
      </pc:sldChg>
      <pc:sldChg chg="addSp modSp add mod">
        <pc:chgData name="Yijun Ma (DCP)" userId="6b140692-16f7-4f54-a783-028f16aab7b0" providerId="ADAL" clId="{0DB6C373-213C-43F5-9A30-7F7050891F52}" dt="2022-02-16T22:17:32.672" v="599" actId="14100"/>
        <pc:sldMkLst>
          <pc:docMk/>
          <pc:sldMk cId="33273292" sldId="974"/>
        </pc:sldMkLst>
        <pc:spChg chg="mod">
          <ac:chgData name="Yijun Ma (DCP)" userId="6b140692-16f7-4f54-a783-028f16aab7b0" providerId="ADAL" clId="{0DB6C373-213C-43F5-9A30-7F7050891F52}" dt="2022-02-16T20:06:38.967" v="303" actId="27636"/>
          <ac:spMkLst>
            <pc:docMk/>
            <pc:sldMk cId="33273292" sldId="974"/>
            <ac:spMk id="2" creationId="{DBB2523B-F74E-4C32-B043-159EAF21F279}"/>
          </ac:spMkLst>
        </pc:spChg>
        <pc:picChg chg="add mod">
          <ac:chgData name="Yijun Ma (DCP)" userId="6b140692-16f7-4f54-a783-028f16aab7b0" providerId="ADAL" clId="{0DB6C373-213C-43F5-9A30-7F7050891F52}" dt="2022-02-16T22:17:32.672" v="599" actId="14100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add mod">
        <pc:chgData name="Yijun Ma (DCP)" userId="6b140692-16f7-4f54-a783-028f16aab7b0" providerId="ADAL" clId="{0DB6C373-213C-43F5-9A30-7F7050891F52}" dt="2022-02-16T21:49:29.619" v="543" actId="108"/>
        <pc:sldMkLst>
          <pc:docMk/>
          <pc:sldMk cId="1444324459" sldId="975"/>
        </pc:sldMkLst>
        <pc:spChg chg="mod">
          <ac:chgData name="Yijun Ma (DCP)" userId="6b140692-16f7-4f54-a783-028f16aab7b0" providerId="ADAL" clId="{0DB6C373-213C-43F5-9A30-7F7050891F52}" dt="2022-02-16T20:17:16.966" v="320" actId="20577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44:26.751" v="538" actId="478"/>
          <ac:spMkLst>
            <pc:docMk/>
            <pc:sldMk cId="1444324459" sldId="975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49:29.619" v="543" actId="10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picChg chg="add mod">
          <ac:chgData name="Yijun Ma (DCP)" userId="6b140692-16f7-4f54-a783-028f16aab7b0" providerId="ADAL" clId="{0DB6C373-213C-43F5-9A30-7F7050891F52}" dt="2022-02-16T20:23:22.967" v="325" actId="27614"/>
          <ac:picMkLst>
            <pc:docMk/>
            <pc:sldMk cId="1444324459" sldId="975"/>
            <ac:picMk id="3" creationId="{EE692124-87CF-4DAD-B34D-FFFBEC4F29DD}"/>
          </ac:picMkLst>
        </pc:picChg>
        <pc:picChg chg="del">
          <ac:chgData name="Yijun Ma (DCP)" userId="6b140692-16f7-4f54-a783-028f16aab7b0" providerId="ADAL" clId="{0DB6C373-213C-43F5-9A30-7F7050891F52}" dt="2022-02-16T20:23:20.351" v="323" actId="478"/>
          <ac:picMkLst>
            <pc:docMk/>
            <pc:sldMk cId="1444324459" sldId="975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0:19:23.120" v="321"/>
        <pc:sldMkLst>
          <pc:docMk/>
          <pc:sldMk cId="2268268419" sldId="976"/>
        </pc:sldMkLst>
        <pc:spChg chg="mod">
          <ac:chgData name="Yijun Ma (DCP)" userId="6b140692-16f7-4f54-a783-028f16aab7b0" providerId="ADAL" clId="{0DB6C373-213C-43F5-9A30-7F7050891F52}" dt="2022-02-16T20:19:23.120" v="321"/>
          <ac:spMkLst>
            <pc:docMk/>
            <pc:sldMk cId="2268268419" sldId="976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50:26.460" v="557" actId="108"/>
        <pc:sldMkLst>
          <pc:docMk/>
          <pc:sldMk cId="3270783053" sldId="977"/>
        </pc:sldMkLst>
        <pc:spChg chg="mod">
          <ac:chgData name="Yijun Ma (DCP)" userId="6b140692-16f7-4f54-a783-028f16aab7b0" providerId="ADAL" clId="{0DB6C373-213C-43F5-9A30-7F7050891F52}" dt="2022-02-16T20:37:58.660" v="361" actId="20577"/>
          <ac:spMkLst>
            <pc:docMk/>
            <pc:sldMk cId="3270783053" sldId="977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50:05.044" v="552" actId="478"/>
          <ac:spMkLst>
            <pc:docMk/>
            <pc:sldMk cId="3270783053" sldId="977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50:26.460" v="557" actId="10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picChg chg="add mod">
          <ac:chgData name="Yijun Ma (DCP)" userId="6b140692-16f7-4f54-a783-028f16aab7b0" providerId="ADAL" clId="{0DB6C373-213C-43F5-9A30-7F7050891F52}" dt="2022-02-16T20:53:00.472" v="367" actId="1076"/>
          <ac:picMkLst>
            <pc:docMk/>
            <pc:sldMk cId="3270783053" sldId="977"/>
            <ac:picMk id="3" creationId="{CC0CD36D-F360-449D-982D-AFEED579A3B7}"/>
          </ac:picMkLst>
        </pc:picChg>
        <pc:picChg chg="del">
          <ac:chgData name="Yijun Ma (DCP)" userId="6b140692-16f7-4f54-a783-028f16aab7b0" providerId="ADAL" clId="{0DB6C373-213C-43F5-9A30-7F7050891F52}" dt="2022-02-16T20:52:58.600" v="364" actId="478"/>
          <ac:picMkLst>
            <pc:docMk/>
            <pc:sldMk cId="3270783053" sldId="977"/>
            <ac:picMk id="8" creationId="{BEDA3F2C-01F8-43B0-AF61-7F198BDD200C}"/>
          </ac:picMkLst>
        </pc:picChg>
      </pc:sldChg>
      <pc:sldChg chg="modSp add mod">
        <pc:chgData name="Yijun Ma (DCP)" userId="6b140692-16f7-4f54-a783-028f16aab7b0" providerId="ADAL" clId="{0DB6C373-213C-43F5-9A30-7F7050891F52}" dt="2022-02-16T20:38:02.987" v="362"/>
        <pc:sldMkLst>
          <pc:docMk/>
          <pc:sldMk cId="1043236540" sldId="978"/>
        </pc:sldMkLst>
        <pc:spChg chg="mod">
          <ac:chgData name="Yijun Ma (DCP)" userId="6b140692-16f7-4f54-a783-028f16aab7b0" providerId="ADAL" clId="{0DB6C373-213C-43F5-9A30-7F7050891F52}" dt="2022-02-16T20:38:02.987" v="362"/>
          <ac:spMkLst>
            <pc:docMk/>
            <pc:sldMk cId="1043236540" sldId="978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8:31.378" v="529" actId="122"/>
        <pc:sldMkLst>
          <pc:docMk/>
          <pc:sldMk cId="751954020" sldId="979"/>
        </pc:sldMkLst>
        <pc:spChg chg="mod">
          <ac:chgData name="Yijun Ma (DCP)" userId="6b140692-16f7-4f54-a783-028f16aab7b0" providerId="ADAL" clId="{0DB6C373-213C-43F5-9A30-7F7050891F52}" dt="2022-02-16T21:05:47.097" v="378" actId="6549"/>
          <ac:spMkLst>
            <pc:docMk/>
            <pc:sldMk cId="751954020" sldId="979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8:16.970" v="524" actId="478"/>
          <ac:spMkLst>
            <pc:docMk/>
            <pc:sldMk cId="751954020" sldId="979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8:31.378" v="529" actId="122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picChg chg="add mod">
          <ac:chgData name="Yijun Ma (DCP)" userId="6b140692-16f7-4f54-a783-028f16aab7b0" providerId="ADAL" clId="{0DB6C373-213C-43F5-9A30-7F7050891F52}" dt="2022-02-16T21:08:14.074" v="384" actId="1076"/>
          <ac:picMkLst>
            <pc:docMk/>
            <pc:sldMk cId="751954020" sldId="979"/>
            <ac:picMk id="3" creationId="{FF4E11C4-16B3-4549-9C44-46373BD8C4FC}"/>
          </ac:picMkLst>
        </pc:picChg>
        <pc:picChg chg="del">
          <ac:chgData name="Yijun Ma (DCP)" userId="6b140692-16f7-4f54-a783-028f16aab7b0" providerId="ADAL" clId="{0DB6C373-213C-43F5-9A30-7F7050891F52}" dt="2022-02-16T21:08:12.475" v="381" actId="478"/>
          <ac:picMkLst>
            <pc:docMk/>
            <pc:sldMk cId="751954020" sldId="979"/>
            <ac:picMk id="8" creationId="{E9B347C4-A360-4A6C-A359-F7D0DF6A99FD}"/>
          </ac:picMkLst>
        </pc:picChg>
      </pc:sldChg>
      <pc:sldChg chg="modSp add mod">
        <pc:chgData name="Yijun Ma (DCP)" userId="6b140692-16f7-4f54-a783-028f16aab7b0" providerId="ADAL" clId="{0DB6C373-213C-43F5-9A30-7F7050891F52}" dt="2022-02-16T21:05:51.118" v="379"/>
        <pc:sldMkLst>
          <pc:docMk/>
          <pc:sldMk cId="1136756573" sldId="980"/>
        </pc:sldMkLst>
        <pc:spChg chg="mod">
          <ac:chgData name="Yijun Ma (DCP)" userId="6b140692-16f7-4f54-a783-028f16aab7b0" providerId="ADAL" clId="{0DB6C373-213C-43F5-9A30-7F7050891F52}" dt="2022-02-16T21:05:51.118" v="379"/>
          <ac:spMkLst>
            <pc:docMk/>
            <pc:sldMk cId="1136756573" sldId="980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6T21:39:58.802" v="536" actId="108"/>
        <pc:sldMkLst>
          <pc:docMk/>
          <pc:sldMk cId="39603071" sldId="981"/>
        </pc:sldMkLst>
        <pc:spChg chg="mod">
          <ac:chgData name="Yijun Ma (DCP)" userId="6b140692-16f7-4f54-a783-028f16aab7b0" providerId="ADAL" clId="{0DB6C373-213C-43F5-9A30-7F7050891F52}" dt="2022-02-16T21:09:17.646" v="386" actId="20577"/>
          <ac:spMkLst>
            <pc:docMk/>
            <pc:sldMk cId="39603071" sldId="981"/>
            <ac:spMk id="7" creationId="{9BB91087-2CBD-4598-BE8C-EC616EFEC33F}"/>
          </ac:spMkLst>
        </pc:spChg>
        <pc:spChg chg="del">
          <ac:chgData name="Yijun Ma (DCP)" userId="6b140692-16f7-4f54-a783-028f16aab7b0" providerId="ADAL" clId="{0DB6C373-213C-43F5-9A30-7F7050891F52}" dt="2022-02-16T21:39:35.803" v="531" actId="478"/>
          <ac:spMkLst>
            <pc:docMk/>
            <pc:sldMk cId="39603071" sldId="981"/>
            <ac:spMk id="10" creationId="{49294274-A3D7-4BDA-9588-09B1643F3AF4}"/>
          </ac:spMkLst>
        </pc:spChg>
        <pc:graphicFrameChg chg="add mod modGraphic">
          <ac:chgData name="Yijun Ma (DCP)" userId="6b140692-16f7-4f54-a783-028f16aab7b0" providerId="ADAL" clId="{0DB6C373-213C-43F5-9A30-7F7050891F52}" dt="2022-02-16T21:39:58.802" v="536" actId="10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picChg chg="add del">
          <ac:chgData name="Yijun Ma (DCP)" userId="6b140692-16f7-4f54-a783-028f16aab7b0" providerId="ADAL" clId="{0DB6C373-213C-43F5-9A30-7F7050891F52}" dt="2022-02-16T21:17:55.750" v="394" actId="478"/>
          <ac:picMkLst>
            <pc:docMk/>
            <pc:sldMk cId="39603071" sldId="981"/>
            <ac:picMk id="3" creationId="{FF4E11C4-16B3-4549-9C44-46373BD8C4FC}"/>
          </ac:picMkLst>
        </pc:picChg>
        <pc:picChg chg="add mod">
          <ac:chgData name="Yijun Ma (DCP)" userId="6b140692-16f7-4f54-a783-028f16aab7b0" providerId="ADAL" clId="{0DB6C373-213C-43F5-9A30-7F7050891F52}" dt="2022-02-16T21:17:57.876" v="395" actId="1076"/>
          <ac:picMkLst>
            <pc:docMk/>
            <pc:sldMk cId="39603071" sldId="981"/>
            <ac:picMk id="4" creationId="{F61A8E9C-CA12-4314-AD39-3A53BB608B6C}"/>
          </ac:picMkLst>
        </pc:picChg>
      </pc:sldChg>
      <pc:sldChg chg="modSp add mod">
        <pc:chgData name="Yijun Ma (DCP)" userId="6b140692-16f7-4f54-a783-028f16aab7b0" providerId="ADAL" clId="{0DB6C373-213C-43F5-9A30-7F7050891F52}" dt="2022-02-16T21:09:19.836" v="387" actId="20577"/>
        <pc:sldMkLst>
          <pc:docMk/>
          <pc:sldMk cId="1655975674" sldId="982"/>
        </pc:sldMkLst>
        <pc:spChg chg="mod">
          <ac:chgData name="Yijun Ma (DCP)" userId="6b140692-16f7-4f54-a783-028f16aab7b0" providerId="ADAL" clId="{0DB6C373-213C-43F5-9A30-7F7050891F52}" dt="2022-02-16T21:09:19.836" v="387" actId="20577"/>
          <ac:spMkLst>
            <pc:docMk/>
            <pc:sldMk cId="1655975674" sldId="982"/>
            <ac:spMk id="2" creationId="{95FA48B9-1C99-41CA-9F4D-7DA0EEF63206}"/>
          </ac:spMkLst>
        </pc:spChg>
      </pc:sldChg>
      <pc:sldChg chg="addSp delSp modSp add mod">
        <pc:chgData name="Yijun Ma (DCP)" userId="6b140692-16f7-4f54-a783-028f16aab7b0" providerId="ADAL" clId="{0DB6C373-213C-43F5-9A30-7F7050891F52}" dt="2022-02-17T00:40:51.080" v="710" actId="108"/>
        <pc:sldMkLst>
          <pc:docMk/>
          <pc:sldMk cId="905708711" sldId="983"/>
        </pc:sldMkLst>
        <pc:spChg chg="mod">
          <ac:chgData name="Yijun Ma (DCP)" userId="6b140692-16f7-4f54-a783-028f16aab7b0" providerId="ADAL" clId="{0DB6C373-213C-43F5-9A30-7F7050891F52}" dt="2022-02-16T23:45:13.607" v="700" actId="20577"/>
          <ac:spMkLst>
            <pc:docMk/>
            <pc:sldMk cId="905708711" sldId="983"/>
            <ac:spMk id="7" creationId="{9BB91087-2CBD-4598-BE8C-EC616EFEC33F}"/>
          </ac:spMkLst>
        </pc:spChg>
        <pc:spChg chg="mod">
          <ac:chgData name="Yijun Ma (DCP)" userId="6b140692-16f7-4f54-a783-028f16aab7b0" providerId="ADAL" clId="{0DB6C373-213C-43F5-9A30-7F7050891F52}" dt="2022-02-16T23:45:57.468" v="705" actId="20577"/>
          <ac:spMkLst>
            <pc:docMk/>
            <pc:sldMk cId="905708711" sldId="983"/>
            <ac:spMk id="9" creationId="{F1889CB5-9135-4CD8-844A-2974C68646C7}"/>
          </ac:spMkLst>
        </pc:spChg>
        <pc:graphicFrameChg chg="mod modGraphic">
          <ac:chgData name="Yijun Ma (DCP)" userId="6b140692-16f7-4f54-a783-028f16aab7b0" providerId="ADAL" clId="{0DB6C373-213C-43F5-9A30-7F7050891F52}" dt="2022-02-17T00:40:51.080" v="710" actId="10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picChg chg="add mod">
          <ac:chgData name="Yijun Ma (DCP)" userId="6b140692-16f7-4f54-a783-028f16aab7b0" providerId="ADAL" clId="{0DB6C373-213C-43F5-9A30-7F7050891F52}" dt="2022-02-16T23:43:28.106" v="629" actId="1076"/>
          <ac:picMkLst>
            <pc:docMk/>
            <pc:sldMk cId="905708711" sldId="983"/>
            <ac:picMk id="3" creationId="{361BD60B-871E-4E15-A69E-5D8BAE006D85}"/>
          </ac:picMkLst>
        </pc:picChg>
        <pc:picChg chg="del">
          <ac:chgData name="Yijun Ma (DCP)" userId="6b140692-16f7-4f54-a783-028f16aab7b0" providerId="ADAL" clId="{0DB6C373-213C-43F5-9A30-7F7050891F52}" dt="2022-02-16T23:43:24.327" v="628" actId="478"/>
          <ac:picMkLst>
            <pc:docMk/>
            <pc:sldMk cId="905708711" sldId="983"/>
            <ac:picMk id="8" creationId="{06C70FF1-5387-4B27-B988-0BFA6561947B}"/>
          </ac:picMkLst>
        </pc:picChg>
      </pc:sldChg>
      <pc:sldChg chg="modSp add mod">
        <pc:chgData name="Yijun Ma (DCP)" userId="6b140692-16f7-4f54-a783-028f16aab7b0" providerId="ADAL" clId="{0DB6C373-213C-43F5-9A30-7F7050891F52}" dt="2022-02-16T23:43:05.277" v="623"/>
        <pc:sldMkLst>
          <pc:docMk/>
          <pc:sldMk cId="21353686" sldId="984"/>
        </pc:sldMkLst>
        <pc:spChg chg="mod">
          <ac:chgData name="Yijun Ma (DCP)" userId="6b140692-16f7-4f54-a783-028f16aab7b0" providerId="ADAL" clId="{0DB6C373-213C-43F5-9A30-7F7050891F52}" dt="2022-02-16T23:43:05.277" v="623"/>
          <ac:spMkLst>
            <pc:docMk/>
            <pc:sldMk cId="21353686" sldId="984"/>
            <ac:spMk id="2" creationId="{95FA48B9-1C99-41CA-9F4D-7DA0EEF63206}"/>
          </ac:spMkLst>
        </pc:spChg>
      </pc:sldChg>
      <pc:sldChg chg="modSp mod">
        <pc:chgData name="Yijun Ma (DCP)" userId="6b140692-16f7-4f54-a783-028f16aab7b0" providerId="ADAL" clId="{0DB6C373-213C-43F5-9A30-7F7050891F52}" dt="2022-02-18T20:37:11.393" v="1073" actId="403"/>
        <pc:sldMkLst>
          <pc:docMk/>
          <pc:sldMk cId="2829190684" sldId="985"/>
        </pc:sldMkLst>
        <pc:graphicFrameChg chg="mod modGraphic">
          <ac:chgData name="Yijun Ma (DCP)" userId="6b140692-16f7-4f54-a783-028f16aab7b0" providerId="ADAL" clId="{0DB6C373-213C-43F5-9A30-7F7050891F52}" dt="2022-02-18T20:37:11.393" v="1073" actId="403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delSp modSp add mod">
        <pc:chgData name="Yijun Ma (DCP)" userId="6b140692-16f7-4f54-a783-028f16aab7b0" providerId="ADAL" clId="{0DB6C373-213C-43F5-9A30-7F7050891F52}" dt="2022-02-17T19:38:47.277" v="745" actId="20577"/>
        <pc:sldMkLst>
          <pc:docMk/>
          <pc:sldMk cId="1138880385" sldId="987"/>
        </pc:sldMkLst>
        <pc:spChg chg="mod">
          <ac:chgData name="Yijun Ma (DCP)" userId="6b140692-16f7-4f54-a783-028f16aab7b0" providerId="ADAL" clId="{0DB6C373-213C-43F5-9A30-7F7050891F52}" dt="2022-02-17T19:38:47.277" v="745" actId="20577"/>
          <ac:spMkLst>
            <pc:docMk/>
            <pc:sldMk cId="1138880385" sldId="987"/>
            <ac:spMk id="7" creationId="{9BB91087-2CBD-4598-BE8C-EC616EFEC33F}"/>
          </ac:spMkLst>
        </pc:spChg>
        <pc:graphicFrameChg chg="mod modGraphic">
          <ac:chgData name="Yijun Ma (DCP)" userId="6b140692-16f7-4f54-a783-028f16aab7b0" providerId="ADAL" clId="{0DB6C373-213C-43F5-9A30-7F7050891F52}" dt="2022-02-17T19:38:35.690" v="733" actId="14734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add mod">
          <ac:chgData name="Yijun Ma (DCP)" userId="6b140692-16f7-4f54-a783-028f16aab7b0" providerId="ADAL" clId="{0DB6C373-213C-43F5-9A30-7F7050891F52}" dt="2022-02-17T19:36:52.928" v="727" actId="1076"/>
          <ac:picMkLst>
            <pc:docMk/>
            <pc:sldMk cId="1138880385" sldId="987"/>
            <ac:picMk id="3" creationId="{F1F8113A-6995-4B54-BD9B-15323CD44122}"/>
          </ac:picMkLst>
        </pc:picChg>
        <pc:picChg chg="del">
          <ac:chgData name="Yijun Ma (DCP)" userId="6b140692-16f7-4f54-a783-028f16aab7b0" providerId="ADAL" clId="{0DB6C373-213C-43F5-9A30-7F7050891F52}" dt="2022-02-17T19:36:50.751" v="726" actId="478"/>
          <ac:picMkLst>
            <pc:docMk/>
            <pc:sldMk cId="1138880385" sldId="987"/>
            <ac:picMk id="12" creationId="{96F504CB-9B8B-4C7F-BCE6-BD57A5BD3201}"/>
          </ac:picMkLst>
        </pc:picChg>
      </pc:sldChg>
      <pc:sldChg chg="modSp add mod">
        <pc:chgData name="Yijun Ma (DCP)" userId="6b140692-16f7-4f54-a783-028f16aab7b0" providerId="ADAL" clId="{0DB6C373-213C-43F5-9A30-7F7050891F52}" dt="2022-02-17T19:39:20.416" v="746"/>
        <pc:sldMkLst>
          <pc:docMk/>
          <pc:sldMk cId="855946971" sldId="988"/>
        </pc:sldMkLst>
        <pc:spChg chg="mod">
          <ac:chgData name="Yijun Ma (DCP)" userId="6b140692-16f7-4f54-a783-028f16aab7b0" providerId="ADAL" clId="{0DB6C373-213C-43F5-9A30-7F7050891F52}" dt="2022-02-17T19:39:20.416" v="746"/>
          <ac:spMkLst>
            <pc:docMk/>
            <pc:sldMk cId="855946971" sldId="988"/>
            <ac:spMk id="2" creationId="{95FA48B9-1C99-41CA-9F4D-7DA0EEF63206}"/>
          </ac:spMkLst>
        </pc:spChg>
      </pc:sldChg>
      <pc:sldChg chg="addSp delSp modSp mod">
        <pc:chgData name="Yijun Ma (DCP)" userId="6b140692-16f7-4f54-a783-028f16aab7b0" providerId="ADAL" clId="{0DB6C373-213C-43F5-9A30-7F7050891F52}" dt="2022-02-18T20:35:08.107" v="1067" actId="478"/>
        <pc:sldMkLst>
          <pc:docMk/>
          <pc:sldMk cId="3752088036" sldId="989"/>
        </pc:sldMkLst>
        <pc:spChg chg="del">
          <ac:chgData name="Yijun Ma (DCP)" userId="6b140692-16f7-4f54-a783-028f16aab7b0" providerId="ADAL" clId="{0DB6C373-213C-43F5-9A30-7F7050891F52}" dt="2022-02-18T20:33:54.555" v="1043" actId="478"/>
          <ac:spMkLst>
            <pc:docMk/>
            <pc:sldMk cId="3752088036" sldId="989"/>
            <ac:spMk id="8" creationId="{41954993-B177-4D27-A163-2FB9F1015DBC}"/>
          </ac:spMkLst>
        </pc:spChg>
        <pc:graphicFrameChg chg="add del mod ord">
          <ac:chgData name="Yijun Ma (DCP)" userId="6b140692-16f7-4f54-a783-028f16aab7b0" providerId="ADAL" clId="{0DB6C373-213C-43F5-9A30-7F7050891F52}" dt="2022-02-18T20:34:31.003" v="1054" actId="478"/>
          <ac:graphicFrameMkLst>
            <pc:docMk/>
            <pc:sldMk cId="3752088036" sldId="989"/>
            <ac:graphicFrameMk id="14" creationId="{A587609E-D773-4D27-BA18-E979A40B9016}"/>
          </ac:graphicFrameMkLst>
        </pc:graphicFrameChg>
        <pc:graphicFrameChg chg="add del mod">
          <ac:chgData name="Yijun Ma (DCP)" userId="6b140692-16f7-4f54-a783-028f16aab7b0" providerId="ADAL" clId="{0DB6C373-213C-43F5-9A30-7F7050891F52}" dt="2022-02-18T20:35:08.107" v="1067" actId="478"/>
          <ac:graphicFrameMkLst>
            <pc:docMk/>
            <pc:sldMk cId="3752088036" sldId="989"/>
            <ac:graphicFrameMk id="15" creationId="{76B4510F-BB0E-4B78-8FF5-1EC7F951A766}"/>
          </ac:graphicFrameMkLst>
        </pc:graphicFrameChg>
        <pc:graphicFrameChg chg="mod modGraphic">
          <ac:chgData name="Yijun Ma (DCP)" userId="6b140692-16f7-4f54-a783-028f16aab7b0" providerId="ADAL" clId="{0DB6C373-213C-43F5-9A30-7F7050891F52}" dt="2022-02-18T20:35:06.635" v="1066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mod ord modGraphic">
          <ac:chgData name="Yijun Ma (DCP)" userId="6b140692-16f7-4f54-a783-028f16aab7b0" providerId="ADAL" clId="{0DB6C373-213C-43F5-9A30-7F7050891F52}" dt="2022-02-18T20:34:42.331" v="106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</pc:sldChg>
      <pc:sldChg chg="addSp delSp modSp mod">
        <pc:chgData name="Yijun Ma (DCP)" userId="6b140692-16f7-4f54-a783-028f16aab7b0" providerId="ADAL" clId="{0DB6C373-213C-43F5-9A30-7F7050891F52}" dt="2022-02-18T20:38:35.173" v="1129" actId="1076"/>
        <pc:sldMkLst>
          <pc:docMk/>
          <pc:sldMk cId="1014023168" sldId="991"/>
        </pc:sldMkLst>
        <pc:spChg chg="mod">
          <ac:chgData name="Yijun Ma (DCP)" userId="6b140692-16f7-4f54-a783-028f16aab7b0" providerId="ADAL" clId="{0DB6C373-213C-43F5-9A30-7F7050891F52}" dt="2022-02-18T20:27:45.556" v="872" actId="20577"/>
          <ac:spMkLst>
            <pc:docMk/>
            <pc:sldMk cId="1014023168" sldId="991"/>
            <ac:spMk id="2" creationId="{AD476F09-9438-4E77-B14A-59ACCC0B45E1}"/>
          </ac:spMkLst>
        </pc:spChg>
        <pc:spChg chg="del">
          <ac:chgData name="Yijun Ma (DCP)" userId="6b140692-16f7-4f54-a783-028f16aab7b0" providerId="ADAL" clId="{0DB6C373-213C-43F5-9A30-7F7050891F52}" dt="2022-02-18T20:38:05.341" v="1118" actId="478"/>
          <ac:spMkLst>
            <pc:docMk/>
            <pc:sldMk cId="1014023168" sldId="991"/>
            <ac:spMk id="4" creationId="{69AFF8C7-239C-4D48-8EAB-AAC23B950855}"/>
          </ac:spMkLst>
        </pc:spChg>
        <pc:graphicFrameChg chg="add del mod modGraphic">
          <ac:chgData name="Yijun Ma (DCP)" userId="6b140692-16f7-4f54-a783-028f16aab7b0" providerId="ADAL" clId="{0DB6C373-213C-43F5-9A30-7F7050891F52}" dt="2022-02-18T20:38:35.173" v="1129" actId="1076"/>
          <ac:graphicFrameMkLst>
            <pc:docMk/>
            <pc:sldMk cId="1014023168" sldId="991"/>
            <ac:graphicFrameMk id="5" creationId="{3E79F915-3958-4031-923B-E65A4FF7E99F}"/>
          </ac:graphicFrameMkLst>
        </pc:graphicFrameChg>
      </pc:sldChg>
    </pc:docChg>
  </pc:docChgLst>
  <pc:docChgLst>
    <pc:chgData name="Maria Free (DCP)" userId="2a7f77c3-bce6-4d58-9dc6-d902d6f4c355" providerId="ADAL" clId="{02BFD5EF-49D4-4F92-8F23-98A90611C6AD}"/>
    <pc:docChg chg="undo custSel addSld delSld modSld">
      <pc:chgData name="Maria Free (DCP)" userId="2a7f77c3-bce6-4d58-9dc6-d902d6f4c355" providerId="ADAL" clId="{02BFD5EF-49D4-4F92-8F23-98A90611C6AD}" dt="2022-02-18T21:21:21.686" v="3907" actId="20577"/>
      <pc:docMkLst>
        <pc:docMk/>
      </pc:docMkLst>
      <pc:sldChg chg="addSp delSp modSp mod">
        <pc:chgData name="Maria Free (DCP)" userId="2a7f77c3-bce6-4d58-9dc6-d902d6f4c355" providerId="ADAL" clId="{02BFD5EF-49D4-4F92-8F23-98A90611C6AD}" dt="2022-02-18T20:16:46.201" v="3407" actId="478"/>
        <pc:sldMkLst>
          <pc:docMk/>
          <pc:sldMk cId="3492499758" sldId="958"/>
        </pc:sldMkLst>
        <pc:spChg chg="del">
          <ac:chgData name="Maria Free (DCP)" userId="2a7f77c3-bce6-4d58-9dc6-d902d6f4c355" providerId="ADAL" clId="{02BFD5EF-49D4-4F92-8F23-98A90611C6AD}" dt="2022-02-18T18:29:49.444" v="1708" actId="478"/>
          <ac:spMkLst>
            <pc:docMk/>
            <pc:sldMk cId="3492499758" sldId="958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0.283" v="2230" actId="20577"/>
          <ac:spMkLst>
            <pc:docMk/>
            <pc:sldMk cId="3492499758" sldId="958"/>
            <ac:spMk id="21" creationId="{A546AE64-5AE1-4639-8978-62D12349B484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13.816" v="2568" actId="114"/>
          <ac:graphicFrameMkLst>
            <pc:docMk/>
            <pc:sldMk cId="3492499758" sldId="958"/>
            <ac:graphicFrameMk id="8" creationId="{C404732E-62C1-4776-9120-5BDFEA1BEE5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9:01.163" v="1696"/>
          <ac:graphicFrameMkLst>
            <pc:docMk/>
            <pc:sldMk cId="3492499758" sldId="958"/>
            <ac:graphicFrameMk id="10" creationId="{D56E375D-3A07-44C0-A0CE-C10AAF314EC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5:43.426" v="2051" actId="14100"/>
          <ac:graphicFrameMkLst>
            <pc:docMk/>
            <pc:sldMk cId="3492499758" sldId="958"/>
            <ac:graphicFrameMk id="11" creationId="{FFDCBE4A-FB3E-4BD6-8A19-C72FA434CF8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17.551" v="1853" actId="20577"/>
          <ac:graphicFrameMkLst>
            <pc:docMk/>
            <pc:sldMk cId="3492499758" sldId="958"/>
            <ac:graphicFrameMk id="13" creationId="{0CBA314D-E6C6-46F0-8999-3020AF6572E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28:41.778" v="1695" actId="478"/>
          <ac:graphicFrameMkLst>
            <pc:docMk/>
            <pc:sldMk cId="3492499758" sldId="958"/>
            <ac:graphicFrameMk id="14" creationId="{A7FC7107-238E-46B4-A7EF-A841A6EB8CE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9:29.743" v="1867" actId="20577"/>
          <ac:graphicFrameMkLst>
            <pc:docMk/>
            <pc:sldMk cId="3492499758" sldId="958"/>
            <ac:graphicFrameMk id="15" creationId="{C5AE39AB-08D4-42A1-A059-5EEE5F43BD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48:19.566" v="1836" actId="20577"/>
          <ac:graphicFrameMkLst>
            <pc:docMk/>
            <pc:sldMk cId="3492499758" sldId="958"/>
            <ac:graphicFrameMk id="16" creationId="{0980E7E5-389F-4E74-AAD4-9436A7962C8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48.276" v="3045" actId="20577"/>
          <ac:graphicFrameMkLst>
            <pc:docMk/>
            <pc:sldMk cId="3492499758" sldId="958"/>
            <ac:graphicFrameMk id="17" creationId="{4B7EDEC6-4560-43C5-9CEE-92D538E3242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2.538" v="1933" actId="478"/>
          <ac:graphicFrameMkLst>
            <pc:docMk/>
            <pc:sldMk cId="3492499758" sldId="958"/>
            <ac:graphicFrameMk id="19" creationId="{7528F834-1FA0-493A-8093-4C1D203BDDA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8:57:43.514" v="1934" actId="478"/>
          <ac:graphicFrameMkLst>
            <pc:docMk/>
            <pc:sldMk cId="3492499758" sldId="958"/>
            <ac:graphicFrameMk id="20" creationId="{51F11FD9-3EDF-46BF-99EC-89553034612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5:49.283" v="2052" actId="478"/>
          <ac:graphicFrameMkLst>
            <pc:docMk/>
            <pc:sldMk cId="3492499758" sldId="958"/>
            <ac:graphicFrameMk id="22" creationId="{FCAE7D9A-06C1-4B8A-82FF-311596EC575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16:46.201" v="3407" actId="478"/>
          <ac:graphicFrameMkLst>
            <pc:docMk/>
            <pc:sldMk cId="3492499758" sldId="958"/>
            <ac:graphicFrameMk id="23" creationId="{18350F59-8007-48F1-A61E-8D9F94FB2FC4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9:05:53.460" v="2054" actId="478"/>
          <ac:graphicFrameMkLst>
            <pc:docMk/>
            <pc:sldMk cId="3492499758" sldId="958"/>
            <ac:graphicFrameMk id="24" creationId="{B1EDF106-7116-447F-9328-4ED4C429985A}"/>
          </ac:graphicFrameMkLst>
        </pc:graphicFrameChg>
        <pc:picChg chg="mod ord">
          <ac:chgData name="Maria Free (DCP)" userId="2a7f77c3-bce6-4d58-9dc6-d902d6f4c355" providerId="ADAL" clId="{02BFD5EF-49D4-4F92-8F23-98A90611C6AD}" dt="2022-02-18T18:29:40.443" v="1705" actId="167"/>
          <ac:picMkLst>
            <pc:docMk/>
            <pc:sldMk cId="3492499758" sldId="958"/>
            <ac:picMk id="12" creationId="{96F504CB-9B8B-4C7F-BCE6-BD57A5BD3201}"/>
          </ac:picMkLst>
        </pc:picChg>
        <pc:picChg chg="add del mod ord">
          <ac:chgData name="Maria Free (DCP)" userId="2a7f77c3-bce6-4d58-9dc6-d902d6f4c355" providerId="ADAL" clId="{02BFD5EF-49D4-4F92-8F23-98A90611C6AD}" dt="2022-02-18T18:29:44.004" v="1707" actId="478"/>
          <ac:picMkLst>
            <pc:docMk/>
            <pc:sldMk cId="3492499758" sldId="958"/>
            <ac:picMk id="18" creationId="{BD5E50A8-471F-43FF-BD4D-55A5C5353628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2.625" v="1709" actId="2696"/>
        <pc:sldMkLst>
          <pc:docMk/>
          <pc:sldMk cId="20884071" sldId="960"/>
        </pc:sldMkLst>
        <pc:spChg chg="del">
          <ac:chgData name="Maria Free (DCP)" userId="2a7f77c3-bce6-4d58-9dc6-d902d6f4c355" providerId="ADAL" clId="{02BFD5EF-49D4-4F92-8F23-98A90611C6AD}" dt="2022-02-18T16:57:59.033" v="610" actId="478"/>
          <ac:spMkLst>
            <pc:docMk/>
            <pc:sldMk cId="20884071" sldId="960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6:58:01.735" v="611" actId="478"/>
          <ac:spMkLst>
            <pc:docMk/>
            <pc:sldMk cId="20884071" sldId="960"/>
            <ac:spMk id="7" creationId="{8130DC2D-89D4-4EE7-9306-F5FEA9343091}"/>
          </ac:spMkLst>
        </pc:spChg>
        <pc:spChg chg="add mod">
          <ac:chgData name="Maria Free (DCP)" userId="2a7f77c3-bce6-4d58-9dc6-d902d6f4c355" providerId="ADAL" clId="{02BFD5EF-49D4-4F92-8F23-98A90611C6AD}" dt="2022-02-18T17:26:47.832" v="891" actId="1076"/>
          <ac:spMkLst>
            <pc:docMk/>
            <pc:sldMk cId="20884071" sldId="960"/>
            <ac:spMk id="20" creationId="{2ADF01C9-2434-4D32-A5BA-83CB30258B64}"/>
          </ac:spMkLst>
        </pc:sp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8" creationId="{CC33AD8C-91D7-47D0-8497-010206E6268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9" creationId="{D2A54C1D-C9A6-469A-A094-58AC621C389D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0" creationId="{F71A93EF-BC5C-4F76-BA2F-B33D7675FC92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6:58:04.810" v="613"/>
          <ac:graphicFrameMkLst>
            <pc:docMk/>
            <pc:sldMk cId="20884071" sldId="960"/>
            <ac:graphicFrameMk id="11" creationId="{0216D969-B411-4DE0-ADEC-3877CF4A746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2" creationId="{B8E8D8C4-61FE-4456-A915-BD632C4FA90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9:32.908" v="868" actId="14100"/>
          <ac:graphicFrameMkLst>
            <pc:docMk/>
            <pc:sldMk cId="20884071" sldId="960"/>
            <ac:graphicFrameMk id="13" creationId="{2BDF1AC6-7A16-4983-8D70-3BEB66DB48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07:28.480" v="670"/>
          <ac:graphicFrameMkLst>
            <pc:docMk/>
            <pc:sldMk cId="20884071" sldId="960"/>
            <ac:graphicFrameMk id="14" creationId="{EE30F5D6-18C2-4867-9E34-BB43F47B064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6:58:14.768" v="614"/>
          <ac:graphicFrameMkLst>
            <pc:docMk/>
            <pc:sldMk cId="20884071" sldId="960"/>
            <ac:graphicFrameMk id="15" creationId="{6FDD005B-9283-48DC-975D-8CAAE3B8E028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09:05.848" v="779" actId="478"/>
          <ac:graphicFrameMkLst>
            <pc:docMk/>
            <pc:sldMk cId="20884071" sldId="960"/>
            <ac:graphicFrameMk id="16" creationId="{11446089-34DD-4F4F-8BF3-61109F110C9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8.559" v="910"/>
          <ac:graphicFrameMkLst>
            <pc:docMk/>
            <pc:sldMk cId="20884071" sldId="960"/>
            <ac:graphicFrameMk id="17" creationId="{479EC075-2FB4-4FB5-9901-8612BD39135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28.976" v="908"/>
          <ac:graphicFrameMkLst>
            <pc:docMk/>
            <pc:sldMk cId="20884071" sldId="960"/>
            <ac:graphicFrameMk id="18" creationId="{65821421-C4B2-49EB-BD12-3F3157CC8118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34.488" v="909"/>
          <ac:graphicFrameMkLst>
            <pc:docMk/>
            <pc:sldMk cId="20884071" sldId="960"/>
            <ac:graphicFrameMk id="19" creationId="{D720A36D-E4F3-4AF5-A313-BE2F87AF9E47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9:59:24.007" v="3059" actId="20577"/>
        <pc:sldMkLst>
          <pc:docMk/>
          <pc:sldMk cId="2815648500" sldId="964"/>
        </pc:sldMkLst>
        <pc:spChg chg="del">
          <ac:chgData name="Maria Free (DCP)" userId="2a7f77c3-bce6-4d58-9dc6-d902d6f4c355" providerId="ADAL" clId="{02BFD5EF-49D4-4F92-8F23-98A90611C6AD}" dt="2022-02-18T18:51:16.690" v="1877" actId="478"/>
          <ac:spMkLst>
            <pc:docMk/>
            <pc:sldMk cId="2815648500" sldId="964"/>
            <ac:spMk id="9" creationId="{F1889CB5-9135-4CD8-844A-2974C68646C7}"/>
          </ac:spMkLst>
        </pc:spChg>
        <pc:spChg chg="mod">
          <ac:chgData name="Maria Free (DCP)" userId="2a7f77c3-bce6-4d58-9dc6-d902d6f4c355" providerId="ADAL" clId="{02BFD5EF-49D4-4F92-8F23-98A90611C6AD}" dt="2022-02-18T19:12:23.770" v="2231" actId="20577"/>
          <ac:spMkLst>
            <pc:docMk/>
            <pc:sldMk cId="2815648500" sldId="964"/>
            <ac:spMk id="21" creationId="{1741E77C-F5BD-4BE1-B8AA-44691C10500C}"/>
          </ac:spMkLst>
        </pc:spChg>
        <pc:graphicFrameChg chg="add mod modGraphic">
          <ac:chgData name="Maria Free (DCP)" userId="2a7f77c3-bce6-4d58-9dc6-d902d6f4c355" providerId="ADAL" clId="{02BFD5EF-49D4-4F92-8F23-98A90611C6AD}" dt="2022-02-18T19:24:27.792" v="2574" actId="114"/>
          <ac:graphicFrameMkLst>
            <pc:docMk/>
            <pc:sldMk cId="2815648500" sldId="964"/>
            <ac:graphicFrameMk id="11" creationId="{D7B3AEC8-A31C-4A98-B69A-F598EEEEC149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8:51:13.938" v="1876" actId="478"/>
          <ac:graphicFrameMkLst>
            <pc:docMk/>
            <pc:sldMk cId="2815648500" sldId="964"/>
            <ac:graphicFrameMk id="12" creationId="{E8B0B956-96B2-4530-AB59-4A660B1B8A73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12:04.074" v="2228" actId="20577"/>
          <ac:graphicFrameMkLst>
            <pc:docMk/>
            <pc:sldMk cId="2815648500" sldId="964"/>
            <ac:graphicFrameMk id="13" creationId="{FCFABDE3-44FC-4606-BE3E-08685B9730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9:55.880" v="2166" actId="20577"/>
          <ac:graphicFrameMkLst>
            <pc:docMk/>
            <pc:sldMk cId="2815648500" sldId="964"/>
            <ac:graphicFrameMk id="14" creationId="{ABBF2346-72C2-4E80-A979-FF155AC814AC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11.225" v="2204" actId="20577"/>
          <ac:graphicFrameMkLst>
            <pc:docMk/>
            <pc:sldMk cId="2815648500" sldId="964"/>
            <ac:graphicFrameMk id="15" creationId="{CA5AE3D8-9984-4CEF-99E6-5BD5318F61F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1:58.170" v="2224" actId="20577"/>
          <ac:graphicFrameMkLst>
            <pc:docMk/>
            <pc:sldMk cId="2815648500" sldId="964"/>
            <ac:graphicFrameMk id="16" creationId="{9BF25679-16E1-41C7-ABA5-CEB0FB2FB46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0:49.625" v="2190" actId="20577"/>
          <ac:graphicFrameMkLst>
            <pc:docMk/>
            <pc:sldMk cId="2815648500" sldId="964"/>
            <ac:graphicFrameMk id="17" creationId="{124C39DF-DB95-44EA-8DD9-C30679F0AE2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24.007" v="3059" actId="20577"/>
          <ac:graphicFrameMkLst>
            <pc:docMk/>
            <pc:sldMk cId="2815648500" sldId="964"/>
            <ac:graphicFrameMk id="18" creationId="{336A2BD5-6654-40DC-8C09-FA9E1FDCF71C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0.635" v="1947" actId="478"/>
          <ac:graphicFrameMkLst>
            <pc:docMk/>
            <pc:sldMk cId="2815648500" sldId="964"/>
            <ac:graphicFrameMk id="19" creationId="{10DE5C78-3D87-401E-920E-30A9FC64113B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8:58:53.436" v="1949" actId="478"/>
          <ac:graphicFrameMkLst>
            <pc:docMk/>
            <pc:sldMk cId="2815648500" sldId="964"/>
            <ac:graphicFrameMk id="20" creationId="{159D88C4-541B-49A8-9A03-2956C0DF66F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5.925" v="2100" actId="478"/>
          <ac:graphicFrameMkLst>
            <pc:docMk/>
            <pc:sldMk cId="2815648500" sldId="964"/>
            <ac:graphicFrameMk id="22" creationId="{A613B23C-92EC-42B1-8A0F-D4CC24DCB87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9:08.590" v="2152" actId="478"/>
          <ac:graphicFrameMkLst>
            <pc:docMk/>
            <pc:sldMk cId="2815648500" sldId="964"/>
            <ac:graphicFrameMk id="23" creationId="{73735430-CF26-47F7-8392-DBB1490914DB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06:37.556" v="2101" actId="478"/>
          <ac:graphicFrameMkLst>
            <pc:docMk/>
            <pc:sldMk cId="2815648500" sldId="964"/>
            <ac:graphicFrameMk id="24" creationId="{615A12C8-BF2C-4ED1-98A8-9CD06C651BF1}"/>
          </ac:graphicFrameMkLst>
        </pc:graphicFrameChg>
        <pc:picChg chg="mod ord">
          <ac:chgData name="Maria Free (DCP)" userId="2a7f77c3-bce6-4d58-9dc6-d902d6f4c355" providerId="ADAL" clId="{02BFD5EF-49D4-4F92-8F23-98A90611C6AD}" dt="2022-02-18T18:52:09.148" v="1885" actId="167"/>
          <ac:picMkLst>
            <pc:docMk/>
            <pc:sldMk cId="2815648500" sldId="964"/>
            <ac:picMk id="8" creationId="{E852F388-40B0-49C1-9826-9AA2505C9419}"/>
          </ac:picMkLst>
        </pc:picChg>
        <pc:picChg chg="add del mod ord">
          <ac:chgData name="Maria Free (DCP)" userId="2a7f77c3-bce6-4d58-9dc6-d902d6f4c355" providerId="ADAL" clId="{02BFD5EF-49D4-4F92-8F23-98A90611C6AD}" dt="2022-02-18T18:52:10.547" v="1886" actId="478"/>
          <ac:picMkLst>
            <pc:docMk/>
            <pc:sldMk cId="2815648500" sldId="964"/>
            <ac:picMk id="10" creationId="{DDDC18C0-43E8-485D-9C8B-BA217E7FFF36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31:55.827" v="1710" actId="2696"/>
        <pc:sldMkLst>
          <pc:docMk/>
          <pc:sldMk cId="214728136" sldId="965"/>
        </pc:sldMkLst>
        <pc:spChg chg="del">
          <ac:chgData name="Maria Free (DCP)" userId="2a7f77c3-bce6-4d58-9dc6-d902d6f4c355" providerId="ADAL" clId="{02BFD5EF-49D4-4F92-8F23-98A90611C6AD}" dt="2022-02-18T17:12:24.292" v="822" actId="478"/>
          <ac:spMkLst>
            <pc:docMk/>
            <pc:sldMk cId="214728136" sldId="965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7:12:31.331" v="824" actId="478"/>
          <ac:spMkLst>
            <pc:docMk/>
            <pc:sldMk cId="214728136" sldId="965"/>
            <ac:spMk id="7" creationId="{8C271953-1C21-4AD7-A00A-788BFC2D567B}"/>
          </ac:spMkLst>
        </pc:spChg>
        <pc:spChg chg="add mod">
          <ac:chgData name="Maria Free (DCP)" userId="2a7f77c3-bce6-4d58-9dc6-d902d6f4c355" providerId="ADAL" clId="{02BFD5EF-49D4-4F92-8F23-98A90611C6AD}" dt="2022-02-18T17:26:54.969" v="893" actId="1076"/>
          <ac:spMkLst>
            <pc:docMk/>
            <pc:sldMk cId="214728136" sldId="965"/>
            <ac:spMk id="15" creationId="{4E8CD846-21EB-4268-B9EB-823901BF206B}"/>
          </ac:spMkLst>
        </pc:spChg>
        <pc:graphicFrameChg chg="add mod">
          <ac:chgData name="Maria Free (DCP)" userId="2a7f77c3-bce6-4d58-9dc6-d902d6f4c355" providerId="ADAL" clId="{02BFD5EF-49D4-4F92-8F23-98A90611C6AD}" dt="2022-02-18T17:31:30.851" v="899" actId="14100"/>
          <ac:graphicFrameMkLst>
            <pc:docMk/>
            <pc:sldMk cId="214728136" sldId="965"/>
            <ac:graphicFrameMk id="8" creationId="{C184C9E4-D10D-4548-AF1D-DD655C126F27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15.239" v="898" actId="14100"/>
          <ac:graphicFrameMkLst>
            <pc:docMk/>
            <pc:sldMk cId="214728136" sldId="965"/>
            <ac:graphicFrameMk id="9" creationId="{25666DC7-8B03-4BF0-B448-6098A834B73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1:37.851" v="900" actId="14100"/>
          <ac:graphicFrameMkLst>
            <pc:docMk/>
            <pc:sldMk cId="214728136" sldId="965"/>
            <ac:graphicFrameMk id="10" creationId="{ED5DFCE9-8684-4036-9340-C0636C1C056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12:24.761" v="823"/>
          <ac:graphicFrameMkLst>
            <pc:docMk/>
            <pc:sldMk cId="214728136" sldId="965"/>
            <ac:graphicFrameMk id="11" creationId="{CF7D46C5-6C98-4693-9ABA-1F7586F60B1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2:15.043" v="902"/>
          <ac:graphicFrameMkLst>
            <pc:docMk/>
            <pc:sldMk cId="214728136" sldId="965"/>
            <ac:graphicFrameMk id="12" creationId="{6D69C606-8774-4FCC-BC3D-E693F239AAC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45.295" v="911"/>
          <ac:graphicFrameMkLst>
            <pc:docMk/>
            <pc:sldMk cId="214728136" sldId="965"/>
            <ac:graphicFrameMk id="13" creationId="{394F2BD4-04D6-420E-8E4D-1EE3C6E80D0F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7:34:50.789" v="912"/>
          <ac:graphicFrameMkLst>
            <pc:docMk/>
            <pc:sldMk cId="214728136" sldId="965"/>
            <ac:graphicFrameMk id="14" creationId="{0FCE2048-ACD0-4B3A-83AE-A3F473408F58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19:59:49.029" v="3077" actId="20577"/>
        <pc:sldMkLst>
          <pc:docMk/>
          <pc:sldMk cId="2946575374" sldId="966"/>
        </pc:sldMkLst>
        <pc:spChg chg="mod">
          <ac:chgData name="Maria Free (DCP)" userId="2a7f77c3-bce6-4d58-9dc6-d902d6f4c355" providerId="ADAL" clId="{02BFD5EF-49D4-4F92-8F23-98A90611C6AD}" dt="2022-02-18T19:12:28.459" v="2232" actId="20577"/>
          <ac:spMkLst>
            <pc:docMk/>
            <pc:sldMk cId="2946575374" sldId="966"/>
            <ac:spMk id="19" creationId="{DF66E23D-567B-411C-A864-13720D7812F2}"/>
          </ac:spMkLst>
        </pc:spChg>
        <pc:graphicFrameChg chg="mod modGraphic">
          <ac:chgData name="Maria Free (DCP)" userId="2a7f77c3-bce6-4d58-9dc6-d902d6f4c355" providerId="ADAL" clId="{02BFD5EF-49D4-4F92-8F23-98A90611C6AD}" dt="2022-02-18T19:23:16.922" v="252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19:59:49.029" v="3077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17:30:45.843" v="894" actId="478"/>
        <pc:sldMkLst>
          <pc:docMk/>
          <pc:sldMk cId="2377291520" sldId="967"/>
        </pc:sldMkLst>
        <pc:spChg chg="del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5" creationId="{7C99F8EB-E6B5-4673-A056-AF6C562FFEBA}"/>
          </ac:spMkLst>
        </pc:spChg>
        <pc:spChg chg="add mod">
          <ac:chgData name="Maria Free (DCP)" userId="2a7f77c3-bce6-4d58-9dc6-d902d6f4c355" providerId="ADAL" clId="{02BFD5EF-49D4-4F92-8F23-98A90611C6AD}" dt="2022-02-18T17:30:45.843" v="894" actId="478"/>
          <ac:spMkLst>
            <pc:docMk/>
            <pc:sldMk cId="2377291520" sldId="967"/>
            <ac:spMk id="7" creationId="{34771926-7A4D-49D5-B52B-B6A766340C31}"/>
          </ac:spMkLst>
        </pc:spChg>
      </pc:sldChg>
      <pc:sldChg chg="modSp mod">
        <pc:chgData name="Maria Free (DCP)" userId="2a7f77c3-bce6-4d58-9dc6-d902d6f4c355" providerId="ADAL" clId="{02BFD5EF-49D4-4F92-8F23-98A90611C6AD}" dt="2022-02-18T20:00:02.332" v="3085"/>
        <pc:sldMkLst>
          <pc:docMk/>
          <pc:sldMk cId="3135331644" sldId="968"/>
        </pc:sldMkLst>
        <pc:graphicFrameChg chg="mod modGraphic">
          <ac:chgData name="Maria Free (DCP)" userId="2a7f77c3-bce6-4d58-9dc6-d902d6f4c355" providerId="ADAL" clId="{02BFD5EF-49D4-4F92-8F23-98A90611C6AD}" dt="2022-02-18T19:23:30.059" v="2532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mod modGraphic">
          <ac:chgData name="Maria Free (DCP)" userId="2a7f77c3-bce6-4d58-9dc6-d902d6f4c355" providerId="ADAL" clId="{02BFD5EF-49D4-4F92-8F23-98A90611C6AD}" dt="2022-02-18T20:00:02.332" v="3085"/>
          <ac:graphicFrameMkLst>
            <pc:docMk/>
            <pc:sldMk cId="3135331644" sldId="968"/>
            <ac:graphicFrameMk id="18" creationId="{BF9A1C16-0291-4EBD-BC50-A556C1A5422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18.937" v="3101"/>
        <pc:sldMkLst>
          <pc:docMk/>
          <pc:sldMk cId="2959194026" sldId="970"/>
        </pc:sldMkLst>
        <pc:graphicFrameChg chg="mod modGraphic">
          <ac:chgData name="Maria Free (DCP)" userId="2a7f77c3-bce6-4d58-9dc6-d902d6f4c355" providerId="ADAL" clId="{02BFD5EF-49D4-4F92-8F23-98A90611C6AD}" dt="2022-02-18T20:00:18.937" v="3101"/>
          <ac:graphicFrameMkLst>
            <pc:docMk/>
            <pc:sldMk cId="2959194026" sldId="970"/>
            <ac:graphicFrameMk id="17" creationId="{C90CE62D-BFDF-432C-B08D-D1FDAF0098AC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28.209" v="3109"/>
        <pc:sldMkLst>
          <pc:docMk/>
          <pc:sldMk cId="505836785" sldId="972"/>
        </pc:sldMkLst>
        <pc:graphicFrameChg chg="mod modGraphic">
          <ac:chgData name="Maria Free (DCP)" userId="2a7f77c3-bce6-4d58-9dc6-d902d6f4c355" providerId="ADAL" clId="{02BFD5EF-49D4-4F92-8F23-98A90611C6AD}" dt="2022-02-18T20:00:28.209" v="3109"/>
          <ac:graphicFrameMkLst>
            <pc:docMk/>
            <pc:sldMk cId="505836785" sldId="972"/>
            <ac:graphicFrameMk id="17" creationId="{7809CF82-E4E7-458F-B59A-53188B598053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1:04.107" v="3150" actId="20577"/>
        <pc:sldMkLst>
          <pc:docMk/>
          <pc:sldMk cId="1444324459" sldId="975"/>
        </pc:sldMkLst>
        <pc:graphicFrameChg chg="mod modGraphic">
          <ac:chgData name="Maria Free (DCP)" userId="2a7f77c3-bce6-4d58-9dc6-d902d6f4c355" providerId="ADAL" clId="{02BFD5EF-49D4-4F92-8F23-98A90611C6AD}" dt="2022-02-18T20:01:04.107" v="3150" actId="20577"/>
          <ac:graphicFrameMkLst>
            <pc:docMk/>
            <pc:sldMk cId="1444324459" sldId="975"/>
            <ac:graphicFrameMk id="17" creationId="{7C2518EF-7A09-441A-9F4B-754D5F501AA6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10:37.363" v="3345" actId="20577"/>
        <pc:sldMkLst>
          <pc:docMk/>
          <pc:sldMk cId="3270783053" sldId="977"/>
        </pc:sldMkLst>
        <pc:spChg chg="del">
          <ac:chgData name="Maria Free (DCP)" userId="2a7f77c3-bce6-4d58-9dc6-d902d6f4c355" providerId="ADAL" clId="{02BFD5EF-49D4-4F92-8F23-98A90611C6AD}" dt="2022-02-18T20:06:01.481" v="3166" actId="478"/>
          <ac:spMkLst>
            <pc:docMk/>
            <pc:sldMk cId="3270783053" sldId="977"/>
            <ac:spMk id="9" creationId="{F1889CB5-9135-4CD8-844A-2974C68646C7}"/>
          </ac:spMkLst>
        </pc:spChg>
        <pc:spChg chg="add mod">
          <ac:chgData name="Maria Free (DCP)" userId="2a7f77c3-bce6-4d58-9dc6-d902d6f4c355" providerId="ADAL" clId="{02BFD5EF-49D4-4F92-8F23-98A90611C6AD}" dt="2022-02-18T20:06:02.666" v="3167"/>
          <ac:spMkLst>
            <pc:docMk/>
            <pc:sldMk cId="3270783053" sldId="977"/>
            <ac:spMk id="18" creationId="{A234853E-0EF7-4BB4-A254-1C980AE6C515}"/>
          </ac:spMkLst>
        </pc:spChg>
        <pc:graphicFrameChg chg="add mod modGraphic">
          <ac:chgData name="Maria Free (DCP)" userId="2a7f77c3-bce6-4d58-9dc6-d902d6f4c355" providerId="ADAL" clId="{02BFD5EF-49D4-4F92-8F23-98A90611C6AD}" dt="2022-02-18T20:08:26.329" v="3268" actId="20577"/>
          <ac:graphicFrameMkLst>
            <pc:docMk/>
            <pc:sldMk cId="3270783053" sldId="977"/>
            <ac:graphicFrameMk id="10" creationId="{40DD4AC9-88D2-4AE2-AA4D-E515AD251FA7}"/>
          </ac:graphicFrameMkLst>
        </pc:graphicFrameChg>
        <pc:graphicFrameChg chg="del">
          <ac:chgData name="Maria Free (DCP)" userId="2a7f77c3-bce6-4d58-9dc6-d902d6f4c355" providerId="ADAL" clId="{02BFD5EF-49D4-4F92-8F23-98A90611C6AD}" dt="2022-02-18T20:05:57.281" v="3165" actId="478"/>
          <ac:graphicFrameMkLst>
            <pc:docMk/>
            <pc:sldMk cId="3270783053" sldId="977"/>
            <ac:graphicFrameMk id="11" creationId="{9266ABEB-CC92-49E4-930A-AEA2F7BE17F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0:37.363" v="3345" actId="20577"/>
          <ac:graphicFrameMkLst>
            <pc:docMk/>
            <pc:sldMk cId="3270783053" sldId="977"/>
            <ac:graphicFrameMk id="12" creationId="{04B902C4-62FF-4C33-8FA2-DE602EB73158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8:44.180" v="3284" actId="20577"/>
          <ac:graphicFrameMkLst>
            <pc:docMk/>
            <pc:sldMk cId="3270783053" sldId="977"/>
            <ac:graphicFrameMk id="13" creationId="{207CD44A-A070-4C7A-A0F2-9E4B81A2092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52.554" v="3321" actId="20577"/>
          <ac:graphicFrameMkLst>
            <pc:docMk/>
            <pc:sldMk cId="3270783053" sldId="977"/>
            <ac:graphicFrameMk id="14" creationId="{7AE040A7-B4D7-4AAD-966F-9857BAC295F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10:17.743" v="3338" actId="20577"/>
          <ac:graphicFrameMkLst>
            <pc:docMk/>
            <pc:sldMk cId="3270783053" sldId="977"/>
            <ac:graphicFrameMk id="15" creationId="{6E6FA395-A057-4A0D-925D-BD958DCFB81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09:24.987" v="3304" actId="20577"/>
          <ac:graphicFrameMkLst>
            <pc:docMk/>
            <pc:sldMk cId="3270783053" sldId="977"/>
            <ac:graphicFrameMk id="16" creationId="{2C2E4547-3DA1-4938-AB05-F52F064D7B1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7:36.923" v="3220" actId="20577"/>
          <ac:graphicFrameMkLst>
            <pc:docMk/>
            <pc:sldMk cId="3270783053" sldId="977"/>
            <ac:graphicFrameMk id="17" creationId="{6B34996A-ECEB-4ABB-90BD-D4F7187A806A}"/>
          </ac:graphicFrameMkLst>
        </pc:graphicFrameChg>
        <pc:picChg chg="mod">
          <ac:chgData name="Maria Free (DCP)" userId="2a7f77c3-bce6-4d58-9dc6-d902d6f4c355" providerId="ADAL" clId="{02BFD5EF-49D4-4F92-8F23-98A90611C6AD}" dt="2022-02-18T20:06:29.608" v="3174" actId="14100"/>
          <ac:picMkLst>
            <pc:docMk/>
            <pc:sldMk cId="3270783053" sldId="977"/>
            <ac:picMk id="3" creationId="{CC0CD36D-F360-449D-982D-AFEED579A3B7}"/>
          </ac:picMkLst>
        </pc:picChg>
        <pc:picChg chg="add del mod">
          <ac:chgData name="Maria Free (DCP)" userId="2a7f77c3-bce6-4d58-9dc6-d902d6f4c355" providerId="ADAL" clId="{02BFD5EF-49D4-4F92-8F23-98A90611C6AD}" dt="2022-02-18T20:06:19.017" v="3172" actId="478"/>
          <ac:picMkLst>
            <pc:docMk/>
            <pc:sldMk cId="3270783053" sldId="977"/>
            <ac:picMk id="8" creationId="{698908E5-04F2-470A-BD73-4023BBD8C439}"/>
          </ac:picMkLst>
        </pc:picChg>
      </pc:sldChg>
      <pc:sldChg chg="modSp mod">
        <pc:chgData name="Maria Free (DCP)" userId="2a7f77c3-bce6-4d58-9dc6-d902d6f4c355" providerId="ADAL" clId="{02BFD5EF-49D4-4F92-8F23-98A90611C6AD}" dt="2022-02-18T20:00:34.920" v="3117"/>
        <pc:sldMkLst>
          <pc:docMk/>
          <pc:sldMk cId="751954020" sldId="979"/>
        </pc:sldMkLst>
        <pc:graphicFrameChg chg="mod modGraphic">
          <ac:chgData name="Maria Free (DCP)" userId="2a7f77c3-bce6-4d58-9dc6-d902d6f4c355" providerId="ADAL" clId="{02BFD5EF-49D4-4F92-8F23-98A90611C6AD}" dt="2022-02-18T20:00:34.920" v="3117"/>
          <ac:graphicFrameMkLst>
            <pc:docMk/>
            <pc:sldMk cId="751954020" sldId="979"/>
            <ac:graphicFrameMk id="16" creationId="{B9D76534-85A8-4DE2-BCA5-14FF71B2C2A6}"/>
          </ac:graphicFrameMkLst>
        </pc:graphicFrameChg>
      </pc:sldChg>
      <pc:sldChg chg="modSp mod">
        <pc:chgData name="Maria Free (DCP)" userId="2a7f77c3-bce6-4d58-9dc6-d902d6f4c355" providerId="ADAL" clId="{02BFD5EF-49D4-4F92-8F23-98A90611C6AD}" dt="2022-02-18T20:00:43.194" v="3125"/>
        <pc:sldMkLst>
          <pc:docMk/>
          <pc:sldMk cId="39603071" sldId="981"/>
        </pc:sldMkLst>
        <pc:graphicFrameChg chg="mod modGraphic">
          <ac:chgData name="Maria Free (DCP)" userId="2a7f77c3-bce6-4d58-9dc6-d902d6f4c355" providerId="ADAL" clId="{02BFD5EF-49D4-4F92-8F23-98A90611C6AD}" dt="2022-02-18T20:00:43.194" v="3125"/>
          <ac:graphicFrameMkLst>
            <pc:docMk/>
            <pc:sldMk cId="39603071" sldId="981"/>
            <ac:graphicFrameMk id="16" creationId="{61A4F2F3-E00C-4260-B513-51EEABEDFEF0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00:10.969" v="3093"/>
        <pc:sldMkLst>
          <pc:docMk/>
          <pc:sldMk cId="905708711" sldId="983"/>
        </pc:sldMkLst>
        <pc:spChg chg="mod ord">
          <ac:chgData name="Maria Free (DCP)" userId="2a7f77c3-bce6-4d58-9dc6-d902d6f4c355" providerId="ADAL" clId="{02BFD5EF-49D4-4F92-8F23-98A90611C6AD}" dt="2022-02-18T19:18:18.904" v="2307" actId="14100"/>
          <ac:spMkLst>
            <pc:docMk/>
            <pc:sldMk cId="905708711" sldId="983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9:14:55.454" v="2256" actId="478"/>
          <ac:spMkLst>
            <pc:docMk/>
            <pc:sldMk cId="905708711" sldId="983"/>
            <ac:spMk id="18" creationId="{B47DBD4A-F676-45D0-A2AE-759F4AE9A941}"/>
          </ac:spMkLst>
        </pc:spChg>
        <pc:spChg chg="add mod">
          <ac:chgData name="Maria Free (DCP)" userId="2a7f77c3-bce6-4d58-9dc6-d902d6f4c355" providerId="ADAL" clId="{02BFD5EF-49D4-4F92-8F23-98A90611C6AD}" dt="2022-02-18T19:15:12.549" v="2257"/>
          <ac:spMkLst>
            <pc:docMk/>
            <pc:sldMk cId="905708711" sldId="983"/>
            <ac:spMk id="28" creationId="{555609A6-3E88-438B-8BF8-5B968BF04A77}"/>
          </ac:spMkLst>
        </pc:spChg>
        <pc:graphicFrameChg chg="add del mod">
          <ac:chgData name="Maria Free (DCP)" userId="2a7f77c3-bce6-4d58-9dc6-d902d6f4c355" providerId="ADAL" clId="{02BFD5EF-49D4-4F92-8F23-98A90611C6AD}" dt="2022-02-18T19:14:32.621" v="2244" actId="478"/>
          <ac:graphicFrameMkLst>
            <pc:docMk/>
            <pc:sldMk cId="905708711" sldId="983"/>
            <ac:graphicFrameMk id="10" creationId="{54CD7F6C-2EC8-4C9A-93ED-774D332B727F}"/>
          </ac:graphicFrameMkLst>
        </pc:graphicFrameChg>
        <pc:graphicFrameChg chg="del">
          <ac:chgData name="Maria Free (DCP)" userId="2a7f77c3-bce6-4d58-9dc6-d902d6f4c355" providerId="ADAL" clId="{02BFD5EF-49D4-4F92-8F23-98A90611C6AD}" dt="2022-02-18T19:13:22.812" v="2233" actId="478"/>
          <ac:graphicFrameMkLst>
            <pc:docMk/>
            <pc:sldMk cId="905708711" sldId="983"/>
            <ac:graphicFrameMk id="11" creationId="{D3670E61-21A9-4AC6-85F3-661DDA195239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3.085" v="2252" actId="478"/>
          <ac:graphicFrameMkLst>
            <pc:docMk/>
            <pc:sldMk cId="905708711" sldId="983"/>
            <ac:graphicFrameMk id="12" creationId="{A1CF2908-0D34-4E09-92D7-B99642044D63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978" v="2246" actId="478"/>
          <ac:graphicFrameMkLst>
            <pc:docMk/>
            <pc:sldMk cId="905708711" sldId="983"/>
            <ac:graphicFrameMk id="13" creationId="{030788DD-92C1-4E37-9E37-48EED05D153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9.667" v="2250" actId="478"/>
          <ac:graphicFrameMkLst>
            <pc:docMk/>
            <pc:sldMk cId="905708711" sldId="983"/>
            <ac:graphicFrameMk id="14" creationId="{18F7AC20-4230-499F-B9FB-3C53543C3B77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40.783" v="2251" actId="478"/>
          <ac:graphicFrameMkLst>
            <pc:docMk/>
            <pc:sldMk cId="905708711" sldId="983"/>
            <ac:graphicFrameMk id="15" creationId="{6CF9DCE0-A6F9-40F9-A235-AC4C94B92ED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8.450" v="2248" actId="478"/>
          <ac:graphicFrameMkLst>
            <pc:docMk/>
            <pc:sldMk cId="905708711" sldId="983"/>
            <ac:graphicFrameMk id="16" creationId="{FBB008C7-2413-408B-A4E7-B4F70C905E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14:34.350" v="2245" actId="478"/>
          <ac:graphicFrameMkLst>
            <pc:docMk/>
            <pc:sldMk cId="905708711" sldId="983"/>
            <ac:graphicFrameMk id="17" creationId="{8CFC1A08-A497-4146-B8C8-B6295F37F072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02.308" v="2504" actId="20577"/>
          <ac:graphicFrameMkLst>
            <pc:docMk/>
            <pc:sldMk cId="905708711" sldId="983"/>
            <ac:graphicFrameMk id="21" creationId="{975C68C9-A4D5-4CE5-AEE8-B316B3E7E051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6:45.664" v="2624" actId="20577"/>
          <ac:graphicFrameMkLst>
            <pc:docMk/>
            <pc:sldMk cId="905708711" sldId="983"/>
            <ac:graphicFrameMk id="22" creationId="{E2F48E20-8382-4153-B887-18DCC7559F83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5:31.385" v="2596" actId="20577"/>
          <ac:graphicFrameMkLst>
            <pc:docMk/>
            <pc:sldMk cId="905708711" sldId="983"/>
            <ac:graphicFrameMk id="23" creationId="{10BB6FCB-08B6-4C4D-821D-80BC32FB2AD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15:12.549" v="2257"/>
          <ac:graphicFrameMkLst>
            <pc:docMk/>
            <pc:sldMk cId="905708711" sldId="983"/>
            <ac:graphicFrameMk id="24" creationId="{5826FB26-EC32-4DBA-AAD6-97D0C2FF1B1A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7:02.873" v="2640" actId="20577"/>
          <ac:graphicFrameMkLst>
            <pc:docMk/>
            <pc:sldMk cId="905708711" sldId="983"/>
            <ac:graphicFrameMk id="25" creationId="{41B563B4-0437-4A42-B4DF-936F4ABB5F9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26:14.728" v="2617" actId="20577"/>
          <ac:graphicFrameMkLst>
            <pc:docMk/>
            <pc:sldMk cId="905708711" sldId="983"/>
            <ac:graphicFrameMk id="26" creationId="{02EF98F2-21AC-4AFF-81F3-4DBD41894EEA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00:10.969" v="3093"/>
          <ac:graphicFrameMkLst>
            <pc:docMk/>
            <pc:sldMk cId="905708711" sldId="983"/>
            <ac:graphicFrameMk id="27" creationId="{40C5FCF4-4C0E-4A64-A7B0-C0731043D47F}"/>
          </ac:graphicFrameMkLst>
        </pc:graphicFrameChg>
        <pc:picChg chg="mod">
          <ac:chgData name="Maria Free (DCP)" userId="2a7f77c3-bce6-4d58-9dc6-d902d6f4c355" providerId="ADAL" clId="{02BFD5EF-49D4-4F92-8F23-98A90611C6AD}" dt="2022-02-18T19:15:28.309" v="2261" actId="14100"/>
          <ac:picMkLst>
            <pc:docMk/>
            <pc:sldMk cId="905708711" sldId="983"/>
            <ac:picMk id="3" creationId="{361BD60B-871E-4E15-A69E-5D8BAE006D85}"/>
          </ac:picMkLst>
        </pc:picChg>
        <pc:picChg chg="add del mod">
          <ac:chgData name="Maria Free (DCP)" userId="2a7f77c3-bce6-4d58-9dc6-d902d6f4c355" providerId="ADAL" clId="{02BFD5EF-49D4-4F92-8F23-98A90611C6AD}" dt="2022-02-18T19:13:45.723" v="2238" actId="478"/>
          <ac:picMkLst>
            <pc:docMk/>
            <pc:sldMk cId="905708711" sldId="983"/>
            <ac:picMk id="8" creationId="{4B9F5C6A-C18C-4733-AB7D-3C2675E57430}"/>
          </ac:picMkLst>
        </pc:picChg>
        <pc:picChg chg="add del mod">
          <ac:chgData name="Maria Free (DCP)" userId="2a7f77c3-bce6-4d58-9dc6-d902d6f4c355" providerId="ADAL" clId="{02BFD5EF-49D4-4F92-8F23-98A90611C6AD}" dt="2022-02-18T19:14:44.748" v="2253" actId="478"/>
          <ac:picMkLst>
            <pc:docMk/>
            <pc:sldMk cId="905708711" sldId="983"/>
            <ac:picMk id="19" creationId="{4E356FF7-8277-4CB0-B39D-8342D33ADCC4}"/>
          </ac:picMkLst>
        </pc:picChg>
        <pc:picChg chg="add del mod">
          <ac:chgData name="Maria Free (DCP)" userId="2a7f77c3-bce6-4d58-9dc6-d902d6f4c355" providerId="ADAL" clId="{02BFD5EF-49D4-4F92-8F23-98A90611C6AD}" dt="2022-02-18T19:15:33.854" v="2263" actId="478"/>
          <ac:picMkLst>
            <pc:docMk/>
            <pc:sldMk cId="905708711" sldId="983"/>
            <ac:picMk id="20" creationId="{46A37F90-9524-479F-A420-0E3D61EFBEF2}"/>
          </ac:picMkLst>
        </pc:picChg>
      </pc:sldChg>
      <pc:sldChg chg="addSp delSp modSp mod">
        <pc:chgData name="Maria Free (DCP)" userId="2a7f77c3-bce6-4d58-9dc6-d902d6f4c355" providerId="ADAL" clId="{02BFD5EF-49D4-4F92-8F23-98A90611C6AD}" dt="2022-02-18T19:58:36.379" v="3027" actId="20577"/>
        <pc:sldMkLst>
          <pc:docMk/>
          <pc:sldMk cId="1138880385" sldId="987"/>
        </pc:sldMkLst>
        <pc:spChg chg="del">
          <ac:chgData name="Maria Free (DCP)" userId="2a7f77c3-bce6-4d58-9dc6-d902d6f4c355" providerId="ADAL" clId="{02BFD5EF-49D4-4F92-8F23-98A90611C6AD}" dt="2022-02-18T17:49:00.267" v="1059" actId="478"/>
          <ac:spMkLst>
            <pc:docMk/>
            <pc:sldMk cId="1138880385" sldId="987"/>
            <ac:spMk id="9" creationId="{F1889CB5-9135-4CD8-844A-2974C68646C7}"/>
          </ac:spMkLst>
        </pc:spChg>
        <pc:spChg chg="add del mod">
          <ac:chgData name="Maria Free (DCP)" userId="2a7f77c3-bce6-4d58-9dc6-d902d6f4c355" providerId="ADAL" clId="{02BFD5EF-49D4-4F92-8F23-98A90611C6AD}" dt="2022-02-18T17:58:38.750" v="1138" actId="478"/>
          <ac:spMkLst>
            <pc:docMk/>
            <pc:sldMk cId="1138880385" sldId="987"/>
            <ac:spMk id="15" creationId="{1CB9A659-0F44-4E81-967D-FB4F633534A9}"/>
          </ac:spMkLst>
        </pc:spChg>
        <pc:spChg chg="mod">
          <ac:chgData name="Maria Free (DCP)" userId="2a7f77c3-bce6-4d58-9dc6-d902d6f4c355" providerId="ADAL" clId="{02BFD5EF-49D4-4F92-8F23-98A90611C6AD}" dt="2022-02-18T19:12:17.690" v="2229" actId="20577"/>
          <ac:spMkLst>
            <pc:docMk/>
            <pc:sldMk cId="1138880385" sldId="987"/>
            <ac:spMk id="17" creationId="{7CC9376D-4CC3-4F96-B1FB-405A8BBB5924}"/>
          </ac:spMkLst>
        </pc:spChg>
        <pc:graphicFrameChg chg="add del mod modGraphic">
          <ac:chgData name="Maria Free (DCP)" userId="2a7f77c3-bce6-4d58-9dc6-d902d6f4c355" providerId="ADAL" clId="{02BFD5EF-49D4-4F92-8F23-98A90611C6AD}" dt="2022-02-18T18:26:07.631" v="1694" actId="478"/>
          <ac:graphicFrameMkLst>
            <pc:docMk/>
            <pc:sldMk cId="1138880385" sldId="987"/>
            <ac:graphicFrameMk id="2" creationId="{E7467D5F-CFAF-454F-9808-12AA37239C5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22:45.643" v="250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8:58:12.609" v="1936" actId="14100"/>
          <ac:graphicFrameMkLst>
            <pc:docMk/>
            <pc:sldMk cId="1138880385" sldId="987"/>
            <ac:graphicFrameMk id="10" creationId="{39F65A34-6F9B-448D-AFA2-841FDACC9C12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04:12.776" v="2002" actId="14100"/>
          <ac:graphicFrameMkLst>
            <pc:docMk/>
            <pc:sldMk cId="1138880385" sldId="987"/>
            <ac:graphicFrameMk id="11" creationId="{9ABBA333-B924-4ABB-953E-546BA07115F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2" creationId="{782498B3-4F78-47FF-8718-2CCBCFA8A844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3" creationId="{13018753-8114-4707-AE9B-4AAFB745A541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8:25:40.545" v="1687" actId="1076"/>
          <ac:graphicFrameMkLst>
            <pc:docMk/>
            <pc:sldMk cId="1138880385" sldId="987"/>
            <ac:graphicFrameMk id="14" creationId="{9CDF3B13-50D1-4AD7-A3C0-D5410EBB5844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8:36.379" v="3027" actId="20577"/>
          <ac:graphicFrameMkLst>
            <pc:docMk/>
            <pc:sldMk cId="1138880385" sldId="987"/>
            <ac:graphicFrameMk id="16" creationId="{69CA3520-805E-4E47-B445-DABD5CA8D245}"/>
          </ac:graphicFrameMkLst>
        </pc:graphicFrameChg>
        <pc:picChg chg="mod modCrop">
          <ac:chgData name="Maria Free (DCP)" userId="2a7f77c3-bce6-4d58-9dc6-d902d6f4c355" providerId="ADAL" clId="{02BFD5EF-49D4-4F92-8F23-98A90611C6AD}" dt="2022-02-18T18:25:44.721" v="1690" actId="732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delSp modSp del mod">
        <pc:chgData name="Maria Free (DCP)" userId="2a7f77c3-bce6-4d58-9dc6-d902d6f4c355" providerId="ADAL" clId="{02BFD5EF-49D4-4F92-8F23-98A90611C6AD}" dt="2022-02-18T18:22:36.613" v="1672" actId="2696"/>
        <pc:sldMkLst>
          <pc:docMk/>
          <pc:sldMk cId="855946971" sldId="988"/>
        </pc:sldMkLst>
        <pc:spChg chg="del">
          <ac:chgData name="Maria Free (DCP)" userId="2a7f77c3-bce6-4d58-9dc6-d902d6f4c355" providerId="ADAL" clId="{02BFD5EF-49D4-4F92-8F23-98A90611C6AD}" dt="2022-02-18T15:52:49.004" v="32" actId="478"/>
          <ac:spMkLst>
            <pc:docMk/>
            <pc:sldMk cId="855946971" sldId="988"/>
            <ac:spMk id="5" creationId="{7C99F8EB-E6B5-4673-A056-AF6C562FFEBA}"/>
          </ac:spMkLst>
        </pc:spChg>
        <pc:spChg chg="add del mod">
          <ac:chgData name="Maria Free (DCP)" userId="2a7f77c3-bce6-4d58-9dc6-d902d6f4c355" providerId="ADAL" clId="{02BFD5EF-49D4-4F92-8F23-98A90611C6AD}" dt="2022-02-18T15:52:51.656" v="33" actId="478"/>
          <ac:spMkLst>
            <pc:docMk/>
            <pc:sldMk cId="855946971" sldId="988"/>
            <ac:spMk id="8" creationId="{38F83C5F-483C-43DF-ABF4-85BE2AD3F466}"/>
          </ac:spMkLst>
        </pc:spChg>
        <pc:spChg chg="add del mod">
          <ac:chgData name="Maria Free (DCP)" userId="2a7f77c3-bce6-4d58-9dc6-d902d6f4c355" providerId="ADAL" clId="{02BFD5EF-49D4-4F92-8F23-98A90611C6AD}" dt="2022-02-18T16:26:18.549" v="134" actId="478"/>
          <ac:spMkLst>
            <pc:docMk/>
            <pc:sldMk cId="855946971" sldId="988"/>
            <ac:spMk id="11" creationId="{81454411-C24C-4FF4-AC25-919E2F2B4E8A}"/>
          </ac:spMkLst>
        </pc:spChg>
        <pc:spChg chg="add mod">
          <ac:chgData name="Maria Free (DCP)" userId="2a7f77c3-bce6-4d58-9dc6-d902d6f4c355" providerId="ADAL" clId="{02BFD5EF-49D4-4F92-8F23-98A90611C6AD}" dt="2022-02-18T17:26:42.775" v="889" actId="1076"/>
          <ac:spMkLst>
            <pc:docMk/>
            <pc:sldMk cId="855946971" sldId="988"/>
            <ac:spMk id="28" creationId="{DB9BECE8-0864-4779-BC9F-870C72B98FBB}"/>
          </ac:spMkLst>
        </pc:spChg>
        <pc:graphicFrameChg chg="mod modGraphic">
          <ac:chgData name="Maria Free (DCP)" userId="2a7f77c3-bce6-4d58-9dc6-d902d6f4c355" providerId="ADAL" clId="{02BFD5EF-49D4-4F92-8F23-98A90611C6AD}" dt="2022-02-18T17:33:13.796" v="907"/>
          <ac:graphicFrameMkLst>
            <pc:docMk/>
            <pc:sldMk cId="855946971" sldId="988"/>
            <ac:graphicFrameMk id="3" creationId="{FFABC0B8-21F2-4D68-9821-88349806892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39:02.778" v="946" actId="114"/>
          <ac:graphicFrameMkLst>
            <pc:docMk/>
            <pc:sldMk cId="855946971" sldId="988"/>
            <ac:graphicFrameMk id="7" creationId="{0425B1F4-89EF-4570-A2B1-259143F7110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32.425" v="960" actId="255"/>
          <ac:graphicFrameMkLst>
            <pc:docMk/>
            <pc:sldMk cId="855946971" sldId="988"/>
            <ac:graphicFrameMk id="14" creationId="{5EC1E1AB-CA75-482D-A71D-2DCE78D36F5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0:49.833" v="976" actId="255"/>
          <ac:graphicFrameMkLst>
            <pc:docMk/>
            <pc:sldMk cId="855946971" sldId="988"/>
            <ac:graphicFrameMk id="17" creationId="{68E44D92-7A15-4DD8-A87A-7E8D97264A7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7:41:38.870" v="994"/>
          <ac:graphicFrameMkLst>
            <pc:docMk/>
            <pc:sldMk cId="855946971" sldId="988"/>
            <ac:graphicFrameMk id="20" creationId="{9D6F7C35-F337-4659-B04C-0B47ECF28BFE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2:04.097" v="821" actId="478"/>
          <ac:graphicFrameMkLst>
            <pc:docMk/>
            <pc:sldMk cId="855946971" sldId="988"/>
            <ac:graphicFrameMk id="23" creationId="{3B7A57C7-7C3A-406B-84AD-83F388CDEB2A}"/>
          </ac:graphicFrameMkLst>
        </pc:graphicFrameChg>
        <pc:graphicFrameChg chg="add del mod modGraphic">
          <ac:chgData name="Maria Free (DCP)" userId="2a7f77c3-bce6-4d58-9dc6-d902d6f4c355" providerId="ADAL" clId="{02BFD5EF-49D4-4F92-8F23-98A90611C6AD}" dt="2022-02-18T17:11:29.039" v="810" actId="478"/>
          <ac:graphicFrameMkLst>
            <pc:docMk/>
            <pc:sldMk cId="855946971" sldId="988"/>
            <ac:graphicFrameMk id="24" creationId="{348F0412-DD7D-447F-96A3-543D5000F2A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7:11:12.654" v="807" actId="478"/>
          <ac:graphicFrameMkLst>
            <pc:docMk/>
            <pc:sldMk cId="855946971" sldId="988"/>
            <ac:graphicFrameMk id="25" creationId="{C62E6107-73C4-413F-9D98-DE20D453EA59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25.874" v="903"/>
          <ac:graphicFrameMkLst>
            <pc:docMk/>
            <pc:sldMk cId="855946971" sldId="988"/>
            <ac:graphicFrameMk id="26" creationId="{897AE438-55D3-4ACE-AA4E-544AD7730C58}"/>
          </ac:graphicFrameMkLst>
        </pc:graphicFrameChg>
        <pc:graphicFrameChg chg="add mod ord modGraphic">
          <ac:chgData name="Maria Free (DCP)" userId="2a7f77c3-bce6-4d58-9dc6-d902d6f4c355" providerId="ADAL" clId="{02BFD5EF-49D4-4F92-8F23-98A90611C6AD}" dt="2022-02-18T17:32:39.357" v="904"/>
          <ac:graphicFrameMkLst>
            <pc:docMk/>
            <pc:sldMk cId="855946971" sldId="988"/>
            <ac:graphicFrameMk id="27" creationId="{4ACE1512-FE72-4C53-B1FA-EB9FF7D71DF8}"/>
          </ac:graphicFrameMkLst>
        </pc:graphicFrameChg>
      </pc:sldChg>
      <pc:sldChg chg="addSp delSp modSp mod">
        <pc:chgData name="Maria Free (DCP)" userId="2a7f77c3-bce6-4d58-9dc6-d902d6f4c355" providerId="ADAL" clId="{02BFD5EF-49D4-4F92-8F23-98A90611C6AD}" dt="2022-02-18T20:49:55.757" v="3417"/>
        <pc:sldMkLst>
          <pc:docMk/>
          <pc:sldMk cId="3752088036" sldId="989"/>
        </pc:sldMkLst>
        <pc:spChg chg="mod">
          <ac:chgData name="Maria Free (DCP)" userId="2a7f77c3-bce6-4d58-9dc6-d902d6f4c355" providerId="ADAL" clId="{02BFD5EF-49D4-4F92-8F23-98A90611C6AD}" dt="2022-02-18T20:15:44.703" v="3406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Maria Free (DCP)" userId="2a7f77c3-bce6-4d58-9dc6-d902d6f4c355" providerId="ADAL" clId="{02BFD5EF-49D4-4F92-8F23-98A90611C6AD}" dt="2022-02-18T19:45:17.769" v="2691" actId="478"/>
          <ac:spMkLst>
            <pc:docMk/>
            <pc:sldMk cId="3752088036" sldId="989"/>
            <ac:spMk id="3" creationId="{BC0C9A14-225E-47D6-8D90-BE3255AB97BF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4" creationId="{00C75EF0-E6EA-4427-B7BE-3EF682B14D5C}"/>
          </ac:spMkLst>
        </pc:spChg>
        <pc:spChg chg="del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6" creationId="{13F8E235-A95C-469E-B973-B1A8BDB99444}"/>
          </ac:spMkLst>
        </pc:spChg>
        <pc:spChg chg="add mod ord">
          <ac:chgData name="Maria Free (DCP)" userId="2a7f77c3-bce6-4d58-9dc6-d902d6f4c355" providerId="ADAL" clId="{02BFD5EF-49D4-4F92-8F23-98A90611C6AD}" dt="2022-02-18T19:46:36.083" v="2705" actId="207"/>
          <ac:spMkLst>
            <pc:docMk/>
            <pc:sldMk cId="3752088036" sldId="989"/>
            <ac:spMk id="11" creationId="{5A6B0306-A34C-4039-93EF-4BA5B918AA3D}"/>
          </ac:spMkLst>
        </pc:spChg>
        <pc:spChg chg="add del mod">
          <ac:chgData name="Maria Free (DCP)" userId="2a7f77c3-bce6-4d58-9dc6-d902d6f4c355" providerId="ADAL" clId="{02BFD5EF-49D4-4F92-8F23-98A90611C6AD}" dt="2022-02-18T19:45:13.595" v="2689" actId="478"/>
          <ac:spMkLst>
            <pc:docMk/>
            <pc:sldMk cId="3752088036" sldId="989"/>
            <ac:spMk id="37" creationId="{88A5B547-B93C-4391-B302-A44836C23A30}"/>
          </ac:spMkLst>
        </pc:spChg>
        <pc:spChg chg="add mod">
          <ac:chgData name="Maria Free (DCP)" userId="2a7f77c3-bce6-4d58-9dc6-d902d6f4c355" providerId="ADAL" clId="{02BFD5EF-49D4-4F92-8F23-98A90611C6AD}" dt="2022-02-18T19:45:26.668" v="2692"/>
          <ac:spMkLst>
            <pc:docMk/>
            <pc:sldMk cId="3752088036" sldId="989"/>
            <ac:spMk id="46" creationId="{5127916E-3103-4D65-BFE8-DB2F1C7C2713}"/>
          </ac:spMkLst>
        </pc:spChg>
        <pc:spChg chg="add mod">
          <ac:chgData name="Maria Free (DCP)" userId="2a7f77c3-bce6-4d58-9dc6-d902d6f4c355" providerId="ADAL" clId="{02BFD5EF-49D4-4F92-8F23-98A90611C6AD}" dt="2022-02-18T19:54:14.816" v="2949" actId="1038"/>
          <ac:spMkLst>
            <pc:docMk/>
            <pc:sldMk cId="3752088036" sldId="989"/>
            <ac:spMk id="48" creationId="{7D8C1345-CE06-411C-9338-18F9F33D43FA}"/>
          </ac:spMkLst>
        </pc:spChg>
        <pc:graphicFrameChg chg="add del mod">
          <ac:chgData name="Maria Free (DCP)" userId="2a7f77c3-bce6-4d58-9dc6-d902d6f4c355" providerId="ADAL" clId="{02BFD5EF-49D4-4F92-8F23-98A90611C6AD}" dt="2022-02-18T15:52:28.391" v="28" actId="21"/>
          <ac:graphicFrameMkLst>
            <pc:docMk/>
            <pc:sldMk cId="3752088036" sldId="989"/>
            <ac:graphicFrameMk id="9" creationId="{07AEAEBD-EEC2-48F8-B750-732422E22185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0" creationId="{11F4742F-DCAC-4D30-9019-7F329FFA46E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1" creationId="{90827F38-9F21-4DDF-87DE-66F38A7BF478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2" creationId="{66933C42-EB49-4277-BB39-64DD2509B6F6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3" creationId="{5E697D86-C583-4FB8-A269-E6FB2F9901D1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3.595" v="2689" actId="478"/>
          <ac:graphicFrameMkLst>
            <pc:docMk/>
            <pc:sldMk cId="3752088036" sldId="989"/>
            <ac:graphicFrameMk id="34" creationId="{24D2760B-AAFD-47FF-B01B-1F659E131ABC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5" creationId="{1569624A-D887-4A23-9FBB-2286C09618B4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19:45:16.027" v="2690" actId="478"/>
          <ac:graphicFrameMkLst>
            <pc:docMk/>
            <pc:sldMk cId="3752088036" sldId="989"/>
            <ac:graphicFrameMk id="36" creationId="{A8CE5D93-A2FB-4F98-8A0F-8F4CE91C8FD5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9:11.185" v="3048" actId="14100"/>
          <ac:graphicFrameMkLst>
            <pc:docMk/>
            <pc:sldMk cId="3752088036" sldId="989"/>
            <ac:graphicFrameMk id="39" creationId="{D041107A-35BD-4DE0-8499-D81BA5475E27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19:51:40.144" v="2890" actId="20577"/>
          <ac:graphicFrameMkLst>
            <pc:docMk/>
            <pc:sldMk cId="3752088036" sldId="989"/>
            <ac:graphicFrameMk id="40" creationId="{67B5B554-EA70-4763-AC9B-55D7D1DAF44E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49:25.444" v="2819" actId="20577"/>
          <ac:graphicFrameMkLst>
            <pc:docMk/>
            <pc:sldMk cId="3752088036" sldId="989"/>
            <ac:graphicFrameMk id="41" creationId="{25A1A51D-09A7-41CC-B624-EF6A3A2D4510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46.780" v="2862" actId="20577"/>
          <ac:graphicFrameMkLst>
            <pc:docMk/>
            <pc:sldMk cId="3752088036" sldId="989"/>
            <ac:graphicFrameMk id="42" creationId="{E2714D36-B6C5-4235-9A97-98EC216EE77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1:31.889" v="2886" actId="20577"/>
          <ac:graphicFrameMkLst>
            <pc:docMk/>
            <pc:sldMk cId="3752088036" sldId="989"/>
            <ac:graphicFrameMk id="43" creationId="{B07215CB-B6B3-4476-AA26-0154835D4CDB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19:50:14.766" v="2841" actId="20577"/>
          <ac:graphicFrameMkLst>
            <pc:docMk/>
            <pc:sldMk cId="3752088036" sldId="989"/>
            <ac:graphicFrameMk id="44" creationId="{485C4E76-B25F-421B-B1D8-EDE6CCEE3F79}"/>
          </ac:graphicFrameMkLst>
        </pc:graphicFrameChg>
        <pc:graphicFrameChg chg="add mod modGraphic">
          <ac:chgData name="Maria Free (DCP)" userId="2a7f77c3-bce6-4d58-9dc6-d902d6f4c355" providerId="ADAL" clId="{02BFD5EF-49D4-4F92-8F23-98A90611C6AD}" dt="2022-02-18T20:17:04.389" v="3412" actId="20577"/>
          <ac:graphicFrameMkLst>
            <pc:docMk/>
            <pc:sldMk cId="3752088036" sldId="989"/>
            <ac:graphicFrameMk id="45" creationId="{F7810B40-D852-46AF-8DC5-D84C30886F59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49" creationId="{329B3CA8-6A4C-4A85-83A1-98C8F69F9A55}"/>
          </ac:graphicFrameMkLst>
        </pc:graphicFrameChg>
        <pc:graphicFrameChg chg="add mod">
          <ac:chgData name="Maria Free (DCP)" userId="2a7f77c3-bce6-4d58-9dc6-d902d6f4c355" providerId="ADAL" clId="{02BFD5EF-49D4-4F92-8F23-98A90611C6AD}" dt="2022-02-18T20:49:46.039" v="3415" actId="1076"/>
          <ac:graphicFrameMkLst>
            <pc:docMk/>
            <pc:sldMk cId="3752088036" sldId="989"/>
            <ac:graphicFrameMk id="50" creationId="{FD42BE49-5165-422C-A727-4D7652B735EF}"/>
          </ac:graphicFrameMkLst>
        </pc:graphicFrameChg>
        <pc:graphicFrameChg chg="add del mod">
          <ac:chgData name="Maria Free (DCP)" userId="2a7f77c3-bce6-4d58-9dc6-d902d6f4c355" providerId="ADAL" clId="{02BFD5EF-49D4-4F92-8F23-98A90611C6AD}" dt="2022-02-18T20:49:55.757" v="3417"/>
          <ac:graphicFrameMkLst>
            <pc:docMk/>
            <pc:sldMk cId="3752088036" sldId="989"/>
            <ac:graphicFrameMk id="51" creationId="{57A154C6-AB88-42AD-8FD9-285F205FE050}"/>
          </ac:graphicFrameMkLst>
        </pc:graphicFrameChg>
        <pc:picChg chg="add del mod">
          <ac:chgData name="Maria Free (DCP)" userId="2a7f77c3-bce6-4d58-9dc6-d902d6f4c355" providerId="ADAL" clId="{02BFD5EF-49D4-4F92-8F23-98A90611C6AD}" dt="2022-02-18T19:45:16.027" v="2690" actId="478"/>
          <ac:picMkLst>
            <pc:docMk/>
            <pc:sldMk cId="3752088036" sldId="989"/>
            <ac:picMk id="29" creationId="{71794420-2261-4E56-8266-DA69CE58E756}"/>
          </ac:picMkLst>
        </pc:picChg>
        <pc:picChg chg="add del mod">
          <ac:chgData name="Maria Free (DCP)" userId="2a7f77c3-bce6-4d58-9dc6-d902d6f4c355" providerId="ADAL" clId="{02BFD5EF-49D4-4F92-8F23-98A90611C6AD}" dt="2022-02-18T19:46:20.217" v="2704" actId="478"/>
          <ac:picMkLst>
            <pc:docMk/>
            <pc:sldMk cId="3752088036" sldId="989"/>
            <ac:picMk id="38" creationId="{860D46F6-8693-45D8-BC2C-024DC60918F5}"/>
          </ac:picMkLst>
        </pc:picChg>
      </pc:sldChg>
      <pc:sldChg chg="modSp mod">
        <pc:chgData name="Maria Free (DCP)" userId="2a7f77c3-bce6-4d58-9dc6-d902d6f4c355" providerId="ADAL" clId="{02BFD5EF-49D4-4F92-8F23-98A90611C6AD}" dt="2022-02-18T19:07:21.277" v="2105" actId="242"/>
        <pc:sldMkLst>
          <pc:docMk/>
          <pc:sldMk cId="197637495" sldId="991"/>
        </pc:sldMkLst>
        <pc:spChg chg="mod">
          <ac:chgData name="Maria Free (DCP)" userId="2a7f77c3-bce6-4d58-9dc6-d902d6f4c355" providerId="ADAL" clId="{02BFD5EF-49D4-4F92-8F23-98A90611C6AD}" dt="2022-02-18T19:07:21.277" v="2105" actId="242"/>
          <ac:spMkLst>
            <pc:docMk/>
            <pc:sldMk cId="197637495" sldId="991"/>
            <ac:spMk id="17" creationId="{7CC9376D-4CC3-4F96-B1FB-405A8BBB5924}"/>
          </ac:spMkLst>
        </pc:spChg>
      </pc:sldChg>
      <pc:sldChg chg="add del">
        <pc:chgData name="Maria Free (DCP)" userId="2a7f77c3-bce6-4d58-9dc6-d902d6f4c355" providerId="ADAL" clId="{02BFD5EF-49D4-4F92-8F23-98A90611C6AD}" dt="2022-02-18T18:58:18.671" v="1938"/>
        <pc:sldMkLst>
          <pc:docMk/>
          <pc:sldMk cId="1284135692" sldId="991"/>
        </pc:sldMkLst>
      </pc:sldChg>
      <pc:sldChg chg="modSp add mod">
        <pc:chgData name="Maria Free (DCP)" userId="2a7f77c3-bce6-4d58-9dc6-d902d6f4c355" providerId="ADAL" clId="{02BFD5EF-49D4-4F92-8F23-98A90611C6AD}" dt="2022-02-18T21:21:21.686" v="3907" actId="20577"/>
        <pc:sldMkLst>
          <pc:docMk/>
          <pc:sldMk cId="2159412959" sldId="992"/>
        </pc:sldMkLst>
        <pc:graphicFrameChg chg="mod modGraphic">
          <ac:chgData name="Maria Free (DCP)" userId="2a7f77c3-bce6-4d58-9dc6-d902d6f4c355" providerId="ADAL" clId="{02BFD5EF-49D4-4F92-8F23-98A90611C6AD}" dt="2022-02-18T21:21:21.686" v="3907" actId="20577"/>
          <ac:graphicFrameMkLst>
            <pc:docMk/>
            <pc:sldMk cId="2159412959" sldId="992"/>
            <ac:graphicFrameMk id="5" creationId="{3E79F915-3958-4031-923B-E65A4FF7E99F}"/>
          </ac:graphicFrameMkLst>
        </pc:graphicFrameChg>
      </pc:sldChg>
    </pc:docChg>
  </pc:docChgLst>
  <pc:docChgLst>
    <pc:chgData name="Maria Free (DCP)" userId="S::mfree@planning.nyc.gov::2a7f77c3-bce6-4d58-9dc6-d902d6f4c355" providerId="AD" clId="Web-{960D158E-124E-F7BF-8B2F-BEC843F776C5}"/>
    <pc:docChg chg="addSld modSld sldOrd">
      <pc:chgData name="Maria Free (DCP)" userId="S::mfree@planning.nyc.gov::2a7f77c3-bce6-4d58-9dc6-d902d6f4c355" providerId="AD" clId="Web-{960D158E-124E-F7BF-8B2F-BEC843F776C5}" dt="2022-02-17T18:47:14.709" v="572"/>
      <pc:docMkLst>
        <pc:docMk/>
      </pc:docMkLst>
      <pc:sldChg chg="addSp delSp modSp new ord">
        <pc:chgData name="Maria Free (DCP)" userId="S::mfree@planning.nyc.gov::2a7f77c3-bce6-4d58-9dc6-d902d6f4c355" providerId="AD" clId="Web-{960D158E-124E-F7BF-8B2F-BEC843F776C5}" dt="2022-02-17T18:47:14.709" v="572"/>
        <pc:sldMkLst>
          <pc:docMk/>
          <pc:sldMk cId="3857730028" sldId="986"/>
        </pc:sldMkLst>
        <pc:spChg chg="mod">
          <ac:chgData name="Maria Free (DCP)" userId="S::mfree@planning.nyc.gov::2a7f77c3-bce6-4d58-9dc6-d902d6f4c355" providerId="AD" clId="Web-{960D158E-124E-F7BF-8B2F-BEC843F776C5}" dt="2022-02-17T18:37:40.217" v="510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Maria Free (DCP)" userId="S::mfree@planning.nyc.gov::2a7f77c3-bce6-4d58-9dc6-d902d6f4c355" providerId="AD" clId="Web-{960D158E-124E-F7BF-8B2F-BEC843F776C5}" dt="2022-02-17T18:27:08.192" v="41"/>
          <ac:spMkLst>
            <pc:docMk/>
            <pc:sldMk cId="3857730028" sldId="986"/>
            <ac:spMk id="5" creationId="{847B3164-90D4-404E-8B15-004800A71C4A}"/>
          </ac:spMkLst>
        </pc:spChg>
        <pc:graphicFrameChg chg="add mod modGraphic">
          <ac:chgData name="Maria Free (DCP)" userId="S::mfree@planning.nyc.gov::2a7f77c3-bce6-4d58-9dc6-d902d6f4c355" providerId="AD" clId="Web-{960D158E-124E-F7BF-8B2F-BEC843F776C5}" dt="2022-02-17T18:47:14.709" v="572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</pc:docChg>
  </pc:docChgLst>
  <pc:docChgLst>
    <pc:chgData name="Yijun Ma (DCP)" userId="S::yma2@planning.nyc.gov::6b140692-16f7-4f54-a783-028f16aab7b0" providerId="AD" clId="Web-{EBF33553-B045-3496-4D92-7E123AC9D52F}"/>
    <pc:docChg chg="modSld">
      <pc:chgData name="Yijun Ma (DCP)" userId="S::yma2@planning.nyc.gov::6b140692-16f7-4f54-a783-028f16aab7b0" providerId="AD" clId="Web-{EBF33553-B045-3496-4D92-7E123AC9D52F}" dt="2022-02-18T15:20:05.421" v="1"/>
      <pc:docMkLst>
        <pc:docMk/>
      </pc:docMkLst>
      <pc:sldChg chg="modSp">
        <pc:chgData name="Yijun Ma (DCP)" userId="S::yma2@planning.nyc.gov::6b140692-16f7-4f54-a783-028f16aab7b0" providerId="AD" clId="Web-{EBF33553-B045-3496-4D92-7E123AC9D52F}" dt="2022-02-18T15:20:05.421" v="1"/>
        <pc:sldMkLst>
          <pc:docMk/>
          <pc:sldMk cId="1138880385" sldId="987"/>
        </pc:sldMkLst>
        <pc:graphicFrameChg chg="modGraphic">
          <ac:chgData name="Yijun Ma (DCP)" userId="S::yma2@planning.nyc.gov::6b140692-16f7-4f54-a783-028f16aab7b0" providerId="AD" clId="Web-{EBF33553-B045-3496-4D92-7E123AC9D52F}" dt="2022-02-18T15:20:05.421" v="1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</pc:docChg>
  </pc:docChgLst>
  <pc:docChgLst>
    <pc:chgData name="Shana Sanichar (DCP)" userId="98f60692-0231-4d18-8efa-97b8ad03acf8" providerId="ADAL" clId="{8A279FAE-A616-46EC-9736-9FB15FD89905}"/>
    <pc:docChg chg="custSel addSld delSld modSld">
      <pc:chgData name="Shana Sanichar (DCP)" userId="98f60692-0231-4d18-8efa-97b8ad03acf8" providerId="ADAL" clId="{8A279FAE-A616-46EC-9736-9FB15FD89905}" dt="2022-02-18T20:31:18.693" v="103" actId="2696"/>
      <pc:docMkLst>
        <pc:docMk/>
      </pc:docMkLst>
      <pc:sldChg chg="addSp delSp modSp mod">
        <pc:chgData name="Shana Sanichar (DCP)" userId="98f60692-0231-4d18-8efa-97b8ad03acf8" providerId="ADAL" clId="{8A279FAE-A616-46EC-9736-9FB15FD89905}" dt="2022-02-18T20:12:36.292" v="52" actId="21"/>
        <pc:sldMkLst>
          <pc:docMk/>
          <pc:sldMk cId="1014023168" sldId="991"/>
        </pc:sldMkLst>
        <pc:spChg chg="mod">
          <ac:chgData name="Shana Sanichar (DCP)" userId="98f60692-0231-4d18-8efa-97b8ad03acf8" providerId="ADAL" clId="{8A279FAE-A616-46EC-9736-9FB15FD89905}" dt="2022-02-18T19:51:28.575" v="17" actId="20577"/>
          <ac:spMkLst>
            <pc:docMk/>
            <pc:sldMk cId="1014023168" sldId="991"/>
            <ac:spMk id="2" creationId="{AD476F09-9438-4E77-B14A-59ACCC0B45E1}"/>
          </ac:spMkLst>
        </pc:spChg>
        <pc:graphicFrameChg chg="add del mod">
          <ac:chgData name="Shana Sanichar (DCP)" userId="98f60692-0231-4d18-8efa-97b8ad03acf8" providerId="ADAL" clId="{8A279FAE-A616-46EC-9736-9FB15FD89905}" dt="2022-02-18T19:51:36.546" v="18" actId="478"/>
          <ac:graphicFrameMkLst>
            <pc:docMk/>
            <pc:sldMk cId="1014023168" sldId="991"/>
            <ac:graphicFrameMk id="5" creationId="{25FC6191-0B1C-4ED6-8CF0-C764EF347EFB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2:48.353" v="20" actId="478"/>
          <ac:graphicFrameMkLst>
            <pc:docMk/>
            <pc:sldMk cId="1014023168" sldId="991"/>
            <ac:graphicFrameMk id="7" creationId="{90001A2C-3B17-49F8-ACB3-91F11F871AD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19:59:37.799" v="30" actId="478"/>
          <ac:graphicFrameMkLst>
            <pc:docMk/>
            <pc:sldMk cId="1014023168" sldId="991"/>
            <ac:graphicFrameMk id="8" creationId="{CD259560-8A8A-4AF4-8907-F35E2DCBDF6D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25.064" v="36" actId="478"/>
          <ac:graphicFrameMkLst>
            <pc:docMk/>
            <pc:sldMk cId="1014023168" sldId="991"/>
            <ac:graphicFrameMk id="9" creationId="{5D185262-B9AB-41EB-989F-806BE78FA6CA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1:54.899" v="38" actId="478"/>
          <ac:graphicFrameMkLst>
            <pc:docMk/>
            <pc:sldMk cId="1014023168" sldId="991"/>
            <ac:graphicFrameMk id="10" creationId="{AED80915-6194-44D5-8F57-2C276098324F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12.480" v="43" actId="478"/>
          <ac:graphicFrameMkLst>
            <pc:docMk/>
            <pc:sldMk cId="1014023168" sldId="991"/>
            <ac:graphicFrameMk id="11" creationId="{4FE1736C-C00A-4FF3-BCA2-1B9066B88EE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08:54.993" v="45" actId="478"/>
          <ac:graphicFrameMkLst>
            <pc:docMk/>
            <pc:sldMk cId="1014023168" sldId="991"/>
            <ac:graphicFrameMk id="12" creationId="{AA198E5D-5147-435D-8437-A4A95D21630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1:31.058" v="47" actId="478"/>
          <ac:graphicFrameMkLst>
            <pc:docMk/>
            <pc:sldMk cId="1014023168" sldId="991"/>
            <ac:graphicFrameMk id="13" creationId="{2AE13636-DD53-482A-8815-FD7EBFE85A51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2:36.292" v="52" actId="21"/>
          <ac:graphicFrameMkLst>
            <pc:docMk/>
            <pc:sldMk cId="1014023168" sldId="991"/>
            <ac:graphicFrameMk id="16" creationId="{9800E5B7-6776-4367-8AE8-5502E7348F0E}"/>
          </ac:graphicFrameMkLst>
        </pc:graphicFrameChg>
      </pc:sldChg>
      <pc:sldChg chg="addSp delSp modSp new del mod">
        <pc:chgData name="Shana Sanichar (DCP)" userId="98f60692-0231-4d18-8efa-97b8ad03acf8" providerId="ADAL" clId="{8A279FAE-A616-46EC-9736-9FB15FD89905}" dt="2022-02-18T20:31:18.693" v="103" actId="2696"/>
        <pc:sldMkLst>
          <pc:docMk/>
          <pc:sldMk cId="2963230288" sldId="992"/>
        </pc:sldMkLst>
        <pc:spChg chg="del">
          <ac:chgData name="Shana Sanichar (DCP)" userId="98f60692-0231-4d18-8efa-97b8ad03acf8" providerId="ADAL" clId="{8A279FAE-A616-46EC-9736-9FB15FD89905}" dt="2022-02-18T20:12:50.404" v="54" actId="478"/>
          <ac:spMkLst>
            <pc:docMk/>
            <pc:sldMk cId="2963230288" sldId="992"/>
            <ac:spMk id="5" creationId="{E44FFFE8-5477-4292-92B7-0256055FCD94}"/>
          </ac:spMkLst>
        </pc:spChg>
        <pc:graphicFrameChg chg="add del mod">
          <ac:chgData name="Shana Sanichar (DCP)" userId="98f60692-0231-4d18-8efa-97b8ad03acf8" providerId="ADAL" clId="{8A279FAE-A616-46EC-9736-9FB15FD89905}" dt="2022-02-18T20:13:06.837" v="57" actId="478"/>
          <ac:graphicFrameMkLst>
            <pc:docMk/>
            <pc:sldMk cId="2963230288" sldId="992"/>
            <ac:graphicFrameMk id="7" creationId="{2DAC0EAF-4088-4EFE-8334-C13A70964800}"/>
          </ac:graphicFrameMkLst>
        </pc:graphicFrameChg>
        <pc:graphicFrameChg chg="add mod">
          <ac:chgData name="Shana Sanichar (DCP)" userId="98f60692-0231-4d18-8efa-97b8ad03acf8" providerId="ADAL" clId="{8A279FAE-A616-46EC-9736-9FB15FD89905}" dt="2022-02-18T20:16:49.439" v="72" actId="1076"/>
          <ac:graphicFrameMkLst>
            <pc:docMk/>
            <pc:sldMk cId="2963230288" sldId="992"/>
            <ac:graphicFrameMk id="8" creationId="{01350FE1-6CBE-4A20-8C66-177C8836D6B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5:54.910" v="69" actId="21"/>
          <ac:graphicFrameMkLst>
            <pc:docMk/>
            <pc:sldMk cId="2963230288" sldId="992"/>
            <ac:graphicFrameMk id="9" creationId="{9C8ECB46-7AFB-4766-B801-DD8D51F277C9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6:44.056" v="71" actId="478"/>
          <ac:graphicFrameMkLst>
            <pc:docMk/>
            <pc:sldMk cId="2963230288" sldId="992"/>
            <ac:graphicFrameMk id="10" creationId="{519BDECA-6586-4F25-A62F-3006EC8D6513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7:55.481" v="75" actId="478"/>
          <ac:graphicFrameMkLst>
            <pc:docMk/>
            <pc:sldMk cId="2963230288" sldId="992"/>
            <ac:graphicFrameMk id="11" creationId="{50ACAAC2-C53A-4D01-BB31-1799526656A0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18:26.842" v="78" actId="478"/>
          <ac:graphicFrameMkLst>
            <pc:docMk/>
            <pc:sldMk cId="2963230288" sldId="992"/>
            <ac:graphicFrameMk id="12" creationId="{B4CF1584-FBD5-41B3-9518-045ED7B147EE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0:14.603" v="81" actId="478"/>
          <ac:graphicFrameMkLst>
            <pc:docMk/>
            <pc:sldMk cId="2963230288" sldId="992"/>
            <ac:graphicFrameMk id="13" creationId="{2DF2E56A-1125-4E0E-A74D-55A168D36C58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4:07.502" v="93" actId="478"/>
          <ac:graphicFrameMkLst>
            <pc:docMk/>
            <pc:sldMk cId="2963230288" sldId="992"/>
            <ac:graphicFrameMk id="14" creationId="{DD9CECF8-DD37-4605-91BA-DE7559E6F394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12.511" v="96" actId="478"/>
          <ac:graphicFrameMkLst>
            <pc:docMk/>
            <pc:sldMk cId="2963230288" sldId="992"/>
            <ac:graphicFrameMk id="15" creationId="{67DFCD09-1DB0-44DD-A8DA-F36BFAD37FB7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25:26.352" v="98" actId="478"/>
          <ac:graphicFrameMkLst>
            <pc:docMk/>
            <pc:sldMk cId="2963230288" sldId="992"/>
            <ac:graphicFrameMk id="16" creationId="{27668845-5D38-4EF9-A625-8C6CE339E186}"/>
          </ac:graphicFrameMkLst>
        </pc:graphicFrameChg>
        <pc:graphicFrameChg chg="add del mod">
          <ac:chgData name="Shana Sanichar (DCP)" userId="98f60692-0231-4d18-8efa-97b8ad03acf8" providerId="ADAL" clId="{8A279FAE-A616-46EC-9736-9FB15FD89905}" dt="2022-02-18T20:30:28.900" v="102" actId="478"/>
          <ac:graphicFrameMkLst>
            <pc:docMk/>
            <pc:sldMk cId="2963230288" sldId="992"/>
            <ac:graphicFrameMk id="17" creationId="{5E428CA5-D48A-479F-809D-848DEC0212F6}"/>
          </ac:graphicFrameMkLst>
        </pc:graphicFrameChg>
      </pc:sldChg>
    </pc:docChg>
  </pc:docChgLst>
  <pc:docChgLst>
    <pc:chgData name="Shana Sanichar (DCP)" userId="S::ssanichar@planning.nyc.gov::98f60692-0231-4d18-8efa-97b8ad03acf8" providerId="AD" clId="Web-{ACB21393-5C50-DCE4-161A-3F31A54970EF}"/>
    <pc:docChg chg="modSld">
      <pc:chgData name="Shana Sanichar (DCP)" userId="S::ssanichar@planning.nyc.gov::98f60692-0231-4d18-8efa-97b8ad03acf8" providerId="AD" clId="Web-{ACB21393-5C50-DCE4-161A-3F31A54970EF}" dt="2022-02-18T17:44:39.371" v="147" actId="14100"/>
      <pc:docMkLst>
        <pc:docMk/>
      </pc:docMkLst>
      <pc:sldChg chg="addSp delSp modSp">
        <pc:chgData name="Shana Sanichar (DCP)" userId="S::ssanichar@planning.nyc.gov::98f60692-0231-4d18-8efa-97b8ad03acf8" providerId="AD" clId="Web-{ACB21393-5C50-DCE4-161A-3F31A54970EF}" dt="2022-02-18T17:44:39.371" v="147" actId="14100"/>
        <pc:sldMkLst>
          <pc:docMk/>
          <pc:sldMk cId="3752088036" sldId="989"/>
        </pc:sldMkLst>
        <pc:spChg chg="mod">
          <ac:chgData name="Shana Sanichar (DCP)" userId="S::ssanichar@planning.nyc.gov::98f60692-0231-4d18-8efa-97b8ad03acf8" providerId="AD" clId="Web-{ACB21393-5C50-DCE4-161A-3F31A54970EF}" dt="2022-02-18T17:30:26.703" v="63" actId="20577"/>
          <ac:spMkLst>
            <pc:docMk/>
            <pc:sldMk cId="3752088036" sldId="989"/>
            <ac:spMk id="2" creationId="{6DFF011F-03F0-443F-9F35-ECD97D9AF79E}"/>
          </ac:spMkLst>
        </pc:spChg>
        <pc:spChg chg="del">
          <ac:chgData name="Shana Sanichar (DCP)" userId="S::ssanichar@planning.nyc.gov::98f60692-0231-4d18-8efa-97b8ad03acf8" providerId="AD" clId="Web-{ACB21393-5C50-DCE4-161A-3F31A54970EF}" dt="2022-02-18T17:25:23.793" v="2"/>
          <ac:spMkLst>
            <pc:docMk/>
            <pc:sldMk cId="3752088036" sldId="989"/>
            <ac:spMk id="5" creationId="{A2717FF7-4785-43D8-BE00-68E7025B184A}"/>
          </ac:spMkLst>
        </pc:spChg>
        <pc:spChg chg="add del mod">
          <ac:chgData name="Shana Sanichar (DCP)" userId="S::ssanichar@planning.nyc.gov::98f60692-0231-4d18-8efa-97b8ad03acf8" providerId="AD" clId="Web-{ACB21393-5C50-DCE4-161A-3F31A54970EF}" dt="2022-02-18T17:25:29.855" v="6"/>
          <ac:spMkLst>
            <pc:docMk/>
            <pc:sldMk cId="3752088036" sldId="989"/>
            <ac:spMk id="9" creationId="{C27BDE34-996D-442F-B9A1-895C27D67D9F}"/>
          </ac:spMkLst>
        </pc:spChg>
        <pc:graphicFrameChg chg="add del mod modGraphic">
          <ac:chgData name="Shana Sanichar (DCP)" userId="S::ssanichar@planning.nyc.gov::98f60692-0231-4d18-8efa-97b8ad03acf8" providerId="AD" clId="Web-{ACB21393-5C50-DCE4-161A-3F31A54970EF}" dt="2022-02-18T17:26:54.356" v="31"/>
          <ac:graphicFrameMkLst>
            <pc:docMk/>
            <pc:sldMk cId="3752088036" sldId="989"/>
            <ac:graphicFrameMk id="12" creationId="{6D481831-CE30-4F27-8B69-C03B28DEF691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27:14.341" v="36"/>
          <ac:graphicFrameMkLst>
            <pc:docMk/>
            <pc:sldMk cId="3752088036" sldId="989"/>
            <ac:graphicFrameMk id="14" creationId="{C6622A59-5ED5-4705-BB91-EB5B446CB8EF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27.199" v="145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add del mod modGraphic">
          <ac:chgData name="Shana Sanichar (DCP)" userId="S::ssanichar@planning.nyc.gov::98f60692-0231-4d18-8efa-97b8ad03acf8" providerId="AD" clId="Web-{ACB21393-5C50-DCE4-161A-3F31A54970EF}" dt="2022-02-18T17:32:44.439" v="77"/>
          <ac:graphicFrameMkLst>
            <pc:docMk/>
            <pc:sldMk cId="3752088036" sldId="989"/>
            <ac:graphicFrameMk id="21" creationId="{6303A0D2-BF86-4A14-A035-C9F3C0216A5A}"/>
          </ac:graphicFrameMkLst>
        </pc:graphicFrameChg>
        <pc:graphicFrameChg chg="add mod modGraphic">
          <ac:chgData name="Shana Sanichar (DCP)" userId="S::ssanichar@planning.nyc.gov::98f60692-0231-4d18-8efa-97b8ad03acf8" providerId="AD" clId="Web-{ACB21393-5C50-DCE4-161A-3F31A54970EF}" dt="2022-02-18T17:44:15.090" v="134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add del mod">
          <ac:chgData name="Shana Sanichar (DCP)" userId="S::ssanichar@planning.nyc.gov::98f60692-0231-4d18-8efa-97b8ad03acf8" providerId="AD" clId="Web-{ACB21393-5C50-DCE4-161A-3F31A54970EF}" dt="2022-02-18T17:25:32.949" v="8"/>
          <ac:picMkLst>
            <pc:docMk/>
            <pc:sldMk cId="3752088036" sldId="989"/>
            <ac:picMk id="7" creationId="{61969631-83B5-4EAB-BEE7-EBCD07269F9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4:39.371" v="147" actId="14100"/>
          <ac:picMkLst>
            <pc:docMk/>
            <pc:sldMk cId="3752088036" sldId="989"/>
            <ac:picMk id="10" creationId="{FC0A5A92-AA57-45A5-BC63-9A0EE4A9E191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1:19.173" v="66"/>
          <ac:picMkLst>
            <pc:docMk/>
            <pc:sldMk cId="3752088036" sldId="989"/>
            <ac:picMk id="15" creationId="{E70EADB4-6325-451D-ACA5-2F19497DA2B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28.619" v="122"/>
          <ac:picMkLst>
            <pc:docMk/>
            <pc:sldMk cId="3752088036" sldId="989"/>
            <ac:picMk id="16" creationId="{94CF320C-006A-4FD0-A7A3-B2AE730D8283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35:38.598" v="84"/>
          <ac:picMkLst>
            <pc:docMk/>
            <pc:sldMk cId="3752088036" sldId="989"/>
            <ac:picMk id="17" creationId="{C128A6E4-4714-4428-B0C5-429E6B6BAC55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36:17.646" v="89" actId="14100"/>
          <ac:picMkLst>
            <pc:docMk/>
            <pc:sldMk cId="3752088036" sldId="989"/>
            <ac:picMk id="24" creationId="{CFF79D21-F992-48DB-B96F-1BA724C6446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0:48.806" v="113"/>
          <ac:picMkLst>
            <pc:docMk/>
            <pc:sldMk cId="3752088036" sldId="989"/>
            <ac:picMk id="25" creationId="{E04380F2-87AD-4F1B-97EB-698F0ACDAC07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1:07.134" v="121" actId="1076"/>
          <ac:picMkLst>
            <pc:docMk/>
            <pc:sldMk cId="3752088036" sldId="989"/>
            <ac:picMk id="26" creationId="{0ACCFE6B-D28B-4F26-A458-1A4ED6371879}"/>
          </ac:picMkLst>
        </pc:picChg>
        <pc:picChg chg="add del mod">
          <ac:chgData name="Shana Sanichar (DCP)" userId="S::ssanichar@planning.nyc.gov::98f60692-0231-4d18-8efa-97b8ad03acf8" providerId="AD" clId="Web-{ACB21393-5C50-DCE4-161A-3F31A54970EF}" dt="2022-02-18T17:41:50.744" v="126"/>
          <ac:picMkLst>
            <pc:docMk/>
            <pc:sldMk cId="3752088036" sldId="989"/>
            <ac:picMk id="27" creationId="{8D3A36C9-4572-4FC7-88FF-385AD93221A2}"/>
          </ac:picMkLst>
        </pc:picChg>
        <pc:picChg chg="add mod">
          <ac:chgData name="Shana Sanichar (DCP)" userId="S::ssanichar@planning.nyc.gov::98f60692-0231-4d18-8efa-97b8ad03acf8" providerId="AD" clId="Web-{ACB21393-5C50-DCE4-161A-3F31A54970EF}" dt="2022-02-18T17:42:11.822" v="129" actId="14100"/>
          <ac:picMkLst>
            <pc:docMk/>
            <pc:sldMk cId="3752088036" sldId="989"/>
            <ac:picMk id="28" creationId="{A147EFAF-BFF8-48EB-82E2-BBDDA2DB2302}"/>
          </ac:picMkLst>
        </pc:picChg>
      </pc:sldChg>
    </pc:docChg>
  </pc:docChgLst>
  <pc:docChgLst>
    <pc:chgData name="Yijun Ma (DCP)" userId="S::yma2@planning.nyc.gov::6b140692-16f7-4f54-a783-028f16aab7b0" providerId="AD" clId="Web-{DA2D46C9-F4E9-05A0-54C4-DD71D3826646}"/>
    <pc:docChg chg="modSld">
      <pc:chgData name="Yijun Ma (DCP)" userId="S::yma2@planning.nyc.gov::6b140692-16f7-4f54-a783-028f16aab7b0" providerId="AD" clId="Web-{DA2D46C9-F4E9-05A0-54C4-DD71D3826646}" dt="2022-02-18T20:20:14.015" v="5"/>
      <pc:docMkLst>
        <pc:docMk/>
      </pc:docMkLst>
      <pc:sldChg chg="addSp delSp modSp">
        <pc:chgData name="Yijun Ma (DCP)" userId="S::yma2@planning.nyc.gov::6b140692-16f7-4f54-a783-028f16aab7b0" providerId="AD" clId="Web-{DA2D46C9-F4E9-05A0-54C4-DD71D3826646}" dt="2022-02-18T20:20:14.015" v="5"/>
        <pc:sldMkLst>
          <pc:docMk/>
          <pc:sldMk cId="1014023168" sldId="991"/>
        </pc:sldMkLst>
        <pc:spChg chg="del">
          <ac:chgData name="Yijun Ma (DCP)" userId="S::yma2@planning.nyc.gov::6b140692-16f7-4f54-a783-028f16aab7b0" providerId="AD" clId="Web-{DA2D46C9-F4E9-05A0-54C4-DD71D3826646}" dt="2022-02-18T20:18:32.373" v="1"/>
          <ac:spMkLst>
            <pc:docMk/>
            <pc:sldMk cId="1014023168" sldId="991"/>
            <ac:spMk id="3" creationId="{E335907C-0AC5-4F64-86D1-7D1CA15F3768}"/>
          </ac:spMkLst>
        </pc:spChg>
        <pc:graphicFrameChg chg="add del mod modGraphic">
          <ac:chgData name="Yijun Ma (DCP)" userId="S::yma2@planning.nyc.gov::6b140692-16f7-4f54-a783-028f16aab7b0" providerId="AD" clId="Web-{DA2D46C9-F4E9-05A0-54C4-DD71D3826646}" dt="2022-02-18T20:20:14.015" v="5"/>
          <ac:graphicFrameMkLst>
            <pc:docMk/>
            <pc:sldMk cId="1014023168" sldId="991"/>
            <ac:graphicFrameMk id="7" creationId="{5F4AFEF3-2CC9-488D-8005-61F6EB17EC9C}"/>
          </ac:graphicFrameMkLst>
        </pc:graphicFrameChg>
        <pc:graphicFrameChg chg="del">
          <ac:chgData name="Yijun Ma (DCP)" userId="S::yma2@planning.nyc.gov::6b140692-16f7-4f54-a783-028f16aab7b0" providerId="AD" clId="Web-{DA2D46C9-F4E9-05A0-54C4-DD71D3826646}" dt="2022-02-18T20:18:31.561" v="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C99190E8-47C9-F313-DCC9-95E9012E080C}"/>
    <pc:docChg chg="addSld modSld">
      <pc:chgData name="Yijun Ma (DCP)" userId="S::yma2@planning.nyc.gov::6b140692-16f7-4f54-a783-028f16aab7b0" providerId="AD" clId="Web-{C99190E8-47C9-F313-DCC9-95E9012E080C}" dt="2022-02-17T18:26:11.463" v="2"/>
      <pc:docMkLst>
        <pc:docMk/>
      </pc:docMkLst>
      <pc:sldChg chg="delSp new">
        <pc:chgData name="Yijun Ma (DCP)" userId="S::yma2@planning.nyc.gov::6b140692-16f7-4f54-a783-028f16aab7b0" providerId="AD" clId="Web-{C99190E8-47C9-F313-DCC9-95E9012E080C}" dt="2022-02-17T18:26:11.463" v="2"/>
        <pc:sldMkLst>
          <pc:docMk/>
          <pc:sldMk cId="2815112099" sldId="987"/>
        </pc:sldMkLst>
        <pc:spChg chg="del">
          <ac:chgData name="Yijun Ma (DCP)" userId="S::yma2@planning.nyc.gov::6b140692-16f7-4f54-a783-028f16aab7b0" providerId="AD" clId="Web-{C99190E8-47C9-F313-DCC9-95E9012E080C}" dt="2022-02-17T18:26:09.541" v="1"/>
          <ac:spMkLst>
            <pc:docMk/>
            <pc:sldMk cId="2815112099" sldId="987"/>
            <ac:spMk id="3" creationId="{220F2390-A35D-4C03-8B9B-4AF5D952CEC9}"/>
          </ac:spMkLst>
        </pc:spChg>
        <pc:spChg chg="del">
          <ac:chgData name="Yijun Ma (DCP)" userId="S::yma2@planning.nyc.gov::6b140692-16f7-4f54-a783-028f16aab7b0" providerId="AD" clId="Web-{C99190E8-47C9-F313-DCC9-95E9012E080C}" dt="2022-02-17T18:26:11.463" v="2"/>
          <ac:spMkLst>
            <pc:docMk/>
            <pc:sldMk cId="2815112099" sldId="987"/>
            <ac:spMk id="5" creationId="{2CE6B057-733F-4E38-950E-4B0041A7E965}"/>
          </ac:spMkLst>
        </pc:spChg>
      </pc:sldChg>
    </pc:docChg>
  </pc:docChgLst>
  <pc:docChgLst>
    <pc:chgData name="Yijun Ma (DCP)" userId="S::yma2@planning.nyc.gov::6b140692-16f7-4f54-a783-028f16aab7b0" providerId="AD" clId="Web-{49A63A07-44C3-EEFC-3FBD-D2FD20307B6E}"/>
    <pc:docChg chg="modSld">
      <pc:chgData name="Yijun Ma (DCP)" userId="S::yma2@planning.nyc.gov::6b140692-16f7-4f54-a783-028f16aab7b0" providerId="AD" clId="Web-{49A63A07-44C3-EEFC-3FBD-D2FD20307B6E}" dt="2022-02-17T19:19:26.251" v="2"/>
      <pc:docMkLst>
        <pc:docMk/>
      </pc:docMkLst>
      <pc:sldChg chg="addSp delSp modSp">
        <pc:chgData name="Yijun Ma (DCP)" userId="S::yma2@planning.nyc.gov::6b140692-16f7-4f54-a783-028f16aab7b0" providerId="AD" clId="Web-{49A63A07-44C3-EEFC-3FBD-D2FD20307B6E}" dt="2022-02-17T19:19:26.251" v="2"/>
        <pc:sldMkLst>
          <pc:docMk/>
          <pc:sldMk cId="3857730028" sldId="986"/>
        </pc:sldMkLst>
        <pc:spChg chg="del">
          <ac:chgData name="Yijun Ma (DCP)" userId="S::yma2@planning.nyc.gov::6b140692-16f7-4f54-a783-028f16aab7b0" providerId="AD" clId="Web-{49A63A07-44C3-EEFC-3FBD-D2FD20307B6E}" dt="2022-02-17T19:17:23.187" v="0"/>
          <ac:spMkLst>
            <pc:docMk/>
            <pc:sldMk cId="3857730028" sldId="986"/>
            <ac:spMk id="3" creationId="{930F2C41-DA9B-4173-BB31-B7A02439516F}"/>
          </ac:spMkLst>
        </pc:spChg>
        <pc:graphicFrameChg chg="add del mod">
          <ac:chgData name="Yijun Ma (DCP)" userId="S::yma2@planning.nyc.gov::6b140692-16f7-4f54-a783-028f16aab7b0" providerId="AD" clId="Web-{49A63A07-44C3-EEFC-3FBD-D2FD20307B6E}" dt="2022-02-17T19:19:26.251" v="2"/>
          <ac:graphicFrameMkLst>
            <pc:docMk/>
            <pc:sldMk cId="3857730028" sldId="986"/>
            <ac:graphicFrameMk id="8" creationId="{8FE6F74C-E047-4A4A-9041-5348F47D22B2}"/>
          </ac:graphicFrameMkLst>
        </pc:graphicFrameChg>
      </pc:sldChg>
    </pc:docChg>
  </pc:docChgLst>
  <pc:docChgLst>
    <pc:chgData name="Yijun" userId="6b140692-16f7-4f54-a783-028f16aab7b0" providerId="ADAL" clId="{0DB6C373-213C-43F5-9A30-7F7050891F52}"/>
    <pc:docChg chg="undo custSel addSld delSld modSld sldOrd">
      <pc:chgData name="Yijun" userId="6b140692-16f7-4f54-a783-028f16aab7b0" providerId="ADAL" clId="{0DB6C373-213C-43F5-9A30-7F7050891F52}" dt="2022-02-18T20:16:08.113" v="1571"/>
      <pc:docMkLst>
        <pc:docMk/>
      </pc:docMkLst>
      <pc:sldChg chg="addSp modSp mod">
        <pc:chgData name="Yijun" userId="6b140692-16f7-4f54-a783-028f16aab7b0" providerId="ADAL" clId="{0DB6C373-213C-43F5-9A30-7F7050891F52}" dt="2022-02-18T20:15:38.147" v="1560"/>
        <pc:sldMkLst>
          <pc:docMk/>
          <pc:sldMk cId="3492499758" sldId="958"/>
        </pc:sldMkLst>
        <pc:spChg chg="mod">
          <ac:chgData name="Yijun" userId="6b140692-16f7-4f54-a783-028f16aab7b0" providerId="ADAL" clId="{0DB6C373-213C-43F5-9A30-7F7050891F52}" dt="2022-02-18T20:15:38.147" v="1560"/>
          <ac:spMkLst>
            <pc:docMk/>
            <pc:sldMk cId="3492499758" sldId="958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35.141" v="173"/>
          <ac:spMkLst>
            <pc:docMk/>
            <pc:sldMk cId="3492499758" sldId="958"/>
            <ac:spMk id="21" creationId="{A546AE64-5AE1-4639-8978-62D12349B484}"/>
          </ac:spMkLst>
        </pc:spChg>
        <pc:graphicFrameChg chg="mod modGraphic">
          <ac:chgData name="Yijun" userId="6b140692-16f7-4f54-a783-028f16aab7b0" providerId="ADAL" clId="{0DB6C373-213C-43F5-9A30-7F7050891F52}" dt="2022-02-18T18:52:16.876" v="81" actId="20577"/>
          <ac:graphicFrameMkLst>
            <pc:docMk/>
            <pc:sldMk cId="3492499758" sldId="958"/>
            <ac:graphicFrameMk id="8" creationId="{C404732E-62C1-4776-9120-5BDFEA1BEE54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6:06.064" v="1570"/>
        <pc:sldMkLst>
          <pc:docMk/>
          <pc:sldMk cId="2192007500" sldId="959"/>
        </pc:sldMkLst>
        <pc:spChg chg="mod">
          <ac:chgData name="Yijun" userId="6b140692-16f7-4f54-a783-028f16aab7b0" providerId="ADAL" clId="{0DB6C373-213C-43F5-9A30-7F7050891F52}" dt="2022-02-18T20:16:06.064" v="1570"/>
          <ac:spMkLst>
            <pc:docMk/>
            <pc:sldMk cId="2192007500" sldId="959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3:19.902" v="1340" actId="478"/>
          <ac:spMkLst>
            <pc:docMk/>
            <pc:sldMk cId="2192007500" sldId="959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3:21.299" v="1341"/>
          <ac:spMkLst>
            <pc:docMk/>
            <pc:sldMk cId="2192007500" sldId="959"/>
            <ac:spMk id="12" creationId="{93AF1455-8E60-4A78-99D2-7AF7B371ADAD}"/>
          </ac:spMkLst>
        </pc:spChg>
        <pc:graphicFrameChg chg="del">
          <ac:chgData name="Yijun" userId="6b140692-16f7-4f54-a783-028f16aab7b0" providerId="ADAL" clId="{0DB6C373-213C-43F5-9A30-7F7050891F52}" dt="2022-02-18T20:03:17.725" v="1339" actId="478"/>
          <ac:graphicFrameMkLst>
            <pc:docMk/>
            <pc:sldMk cId="2192007500" sldId="959"/>
            <ac:graphicFrameMk id="11" creationId="{BBF6B6AC-14C7-4F5B-9513-74301E2D694E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5:22.762" v="1428" actId="20577"/>
          <ac:graphicFrameMkLst>
            <pc:docMk/>
            <pc:sldMk cId="2192007500" sldId="959"/>
            <ac:graphicFrameMk id="13" creationId="{8F97F1EE-FC8D-490F-8CFC-05A4EF963A8A}"/>
          </ac:graphicFrameMkLst>
        </pc:graphicFrameChg>
        <pc:graphicFrameChg chg="add mod">
          <ac:chgData name="Yijun" userId="6b140692-16f7-4f54-a783-028f16aab7b0" providerId="ADAL" clId="{0DB6C373-213C-43F5-9A30-7F7050891F52}" dt="2022-02-18T20:06:15.184" v="1437" actId="20577"/>
          <ac:graphicFrameMkLst>
            <pc:docMk/>
            <pc:sldMk cId="2192007500" sldId="959"/>
            <ac:graphicFrameMk id="14" creationId="{124DA798-6CE2-4055-B2FB-E2F3ECFB804D}"/>
          </ac:graphicFrameMkLst>
        </pc:graphicFrameChg>
        <pc:graphicFrameChg chg="add mod">
          <ac:chgData name="Yijun" userId="6b140692-16f7-4f54-a783-028f16aab7b0" providerId="ADAL" clId="{0DB6C373-213C-43F5-9A30-7F7050891F52}" dt="2022-02-18T20:08:11.203" v="1461" actId="20577"/>
          <ac:graphicFrameMkLst>
            <pc:docMk/>
            <pc:sldMk cId="2192007500" sldId="959"/>
            <ac:graphicFrameMk id="15" creationId="{F1222937-A06A-4058-B4F2-7089ECA22BDB}"/>
          </ac:graphicFrameMkLst>
        </pc:graphicFrameChg>
        <pc:graphicFrameChg chg="add mod">
          <ac:chgData name="Yijun" userId="6b140692-16f7-4f54-a783-028f16aab7b0" providerId="ADAL" clId="{0DB6C373-213C-43F5-9A30-7F7050891F52}" dt="2022-02-18T20:08:33.058" v="1471" actId="20577"/>
          <ac:graphicFrameMkLst>
            <pc:docMk/>
            <pc:sldMk cId="2192007500" sldId="959"/>
            <ac:graphicFrameMk id="16" creationId="{4E913489-682B-4EC9-99A0-F29C78FA6DAE}"/>
          </ac:graphicFrameMkLst>
        </pc:graphicFrameChg>
        <pc:graphicFrameChg chg="add mod">
          <ac:chgData name="Yijun" userId="6b140692-16f7-4f54-a783-028f16aab7b0" providerId="ADAL" clId="{0DB6C373-213C-43F5-9A30-7F7050891F52}" dt="2022-02-18T20:06:37.728" v="1449" actId="20577"/>
          <ac:graphicFrameMkLst>
            <pc:docMk/>
            <pc:sldMk cId="2192007500" sldId="959"/>
            <ac:graphicFrameMk id="17" creationId="{B60D8E13-D4B5-4E0E-8809-824085239C5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4:12.045" v="1382" actId="6549"/>
          <ac:graphicFrameMkLst>
            <pc:docMk/>
            <pc:sldMk cId="2192007500" sldId="959"/>
            <ac:graphicFrameMk id="18" creationId="{15A8D100-8465-4F99-BA7D-D68DDD40062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8:45.795" v="1478" actId="20577"/>
          <ac:graphicFrameMkLst>
            <pc:docMk/>
            <pc:sldMk cId="2192007500" sldId="959"/>
            <ac:graphicFrameMk id="19" creationId="{600D5E75-D715-4CBE-A9A9-1568F8BF1A31}"/>
          </ac:graphicFrameMkLst>
        </pc:graphicFrameChg>
        <pc:picChg chg="mod ord">
          <ac:chgData name="Yijun" userId="6b140692-16f7-4f54-a783-028f16aab7b0" providerId="ADAL" clId="{0DB6C373-213C-43F5-9A30-7F7050891F52}" dt="2022-02-18T20:03:44.489" v="1348" actId="167"/>
          <ac:picMkLst>
            <pc:docMk/>
            <pc:sldMk cId="2192007500" sldId="959"/>
            <ac:picMk id="8" creationId="{BEDA3F2C-01F8-43B0-AF61-7F198BDD200C}"/>
          </ac:picMkLst>
        </pc:picChg>
        <pc:picChg chg="add del mod ord">
          <ac:chgData name="Yijun" userId="6b140692-16f7-4f54-a783-028f16aab7b0" providerId="ADAL" clId="{0DB6C373-213C-43F5-9A30-7F7050891F52}" dt="2022-02-18T20:03:45.421" v="1349" actId="478"/>
          <ac:picMkLst>
            <pc:docMk/>
            <pc:sldMk cId="2192007500" sldId="959"/>
            <ac:picMk id="10" creationId="{DAA626AC-0CF7-4589-A745-963F419C22D1}"/>
          </ac:picMkLst>
        </pc:picChg>
      </pc:sldChg>
      <pc:sldChg chg="del">
        <pc:chgData name="Yijun" userId="6b140692-16f7-4f54-a783-028f16aab7b0" providerId="ADAL" clId="{0DB6C373-213C-43F5-9A30-7F7050891F52}" dt="2022-02-18T19:49:15.958" v="826" actId="47"/>
        <pc:sldMkLst>
          <pc:docMk/>
          <pc:sldMk cId="3426116561" sldId="963"/>
        </pc:sldMkLst>
      </pc:sldChg>
      <pc:sldChg chg="addSp modSp mod">
        <pc:chgData name="Yijun" userId="6b140692-16f7-4f54-a783-028f16aab7b0" providerId="ADAL" clId="{0DB6C373-213C-43F5-9A30-7F7050891F52}" dt="2022-02-18T20:15:40.722" v="1561"/>
        <pc:sldMkLst>
          <pc:docMk/>
          <pc:sldMk cId="2815648500" sldId="964"/>
        </pc:sldMkLst>
        <pc:spChg chg="mod">
          <ac:chgData name="Yijun" userId="6b140692-16f7-4f54-a783-028f16aab7b0" providerId="ADAL" clId="{0DB6C373-213C-43F5-9A30-7F7050891F52}" dt="2022-02-18T20:15:40.722" v="1561"/>
          <ac:spMkLst>
            <pc:docMk/>
            <pc:sldMk cId="2815648500" sldId="964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4:17.254" v="174"/>
          <ac:spMkLst>
            <pc:docMk/>
            <pc:sldMk cId="2815648500" sldId="964"/>
            <ac:spMk id="21" creationId="{1741E77C-F5BD-4BE1-B8AA-44691C10500C}"/>
          </ac:spMkLst>
        </pc:spChg>
        <pc:graphicFrameChg chg="mod modGraphic">
          <ac:chgData name="Yijun" userId="6b140692-16f7-4f54-a783-028f16aab7b0" providerId="ADAL" clId="{0DB6C373-213C-43F5-9A30-7F7050891F52}" dt="2022-02-18T18:52:34.685" v="89" actId="20577"/>
          <ac:graphicFrameMkLst>
            <pc:docMk/>
            <pc:sldMk cId="2815648500" sldId="964"/>
            <ac:graphicFrameMk id="11" creationId="{D7B3AEC8-A31C-4A98-B69A-F598EEEEC149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20:15:43.185" v="1562"/>
        <pc:sldMkLst>
          <pc:docMk/>
          <pc:sldMk cId="2946575374" sldId="966"/>
        </pc:sldMkLst>
        <pc:spChg chg="add del mod">
          <ac:chgData name="Yijun" userId="6b140692-16f7-4f54-a783-028f16aab7b0" providerId="ADAL" clId="{0DB6C373-213C-43F5-9A30-7F7050891F52}" dt="2022-02-18T19:07:15.401" v="179" actId="478"/>
          <ac:spMkLst>
            <pc:docMk/>
            <pc:sldMk cId="2946575374" sldId="966"/>
            <ac:spMk id="3" creationId="{0D84CDD2-BBBE-4238-B999-2D65E05D0205}"/>
          </ac:spMkLst>
        </pc:spChg>
        <pc:spChg chg="add del mod">
          <ac:chgData name="Yijun" userId="6b140692-16f7-4f54-a783-028f16aab7b0" providerId="ADAL" clId="{0DB6C373-213C-43F5-9A30-7F7050891F52}" dt="2022-02-18T19:07:24.742" v="182" actId="478"/>
          <ac:spMkLst>
            <pc:docMk/>
            <pc:sldMk cId="2946575374" sldId="966"/>
            <ac:spMk id="5" creationId="{EBDFE719-399E-4212-AAC7-E41BD58D9502}"/>
          </ac:spMkLst>
        </pc:spChg>
        <pc:spChg chg="mod">
          <ac:chgData name="Yijun" userId="6b140692-16f7-4f54-a783-028f16aab7b0" providerId="ADAL" clId="{0DB6C373-213C-43F5-9A30-7F7050891F52}" dt="2022-02-18T20:15:43.185" v="1562"/>
          <ac:spMkLst>
            <pc:docMk/>
            <pc:sldMk cId="2946575374" sldId="966"/>
            <ac:spMk id="7" creationId="{9BB91087-2CBD-4598-BE8C-EC616EFEC33F}"/>
          </ac:spMkLst>
        </pc:spChg>
        <pc:spChg chg="add del mod">
          <ac:chgData name="Yijun" userId="6b140692-16f7-4f54-a783-028f16aab7b0" providerId="ADAL" clId="{0DB6C373-213C-43F5-9A30-7F7050891F52}" dt="2022-02-18T19:07:22.743" v="181" actId="478"/>
          <ac:spMkLst>
            <pc:docMk/>
            <pc:sldMk cId="2946575374" sldId="966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07:32.710" v="183" actId="478"/>
          <ac:spMkLst>
            <pc:docMk/>
            <pc:sldMk cId="2946575374" sldId="966"/>
            <ac:spMk id="18" creationId="{EA4BDE70-44DD-4CF2-8124-CDCABD683836}"/>
          </ac:spMkLst>
        </pc:spChg>
        <pc:spChg chg="add mod">
          <ac:chgData name="Yijun" userId="6b140692-16f7-4f54-a783-028f16aab7b0" providerId="ADAL" clId="{0DB6C373-213C-43F5-9A30-7F7050891F52}" dt="2022-02-18T19:07:33.546" v="184"/>
          <ac:spMkLst>
            <pc:docMk/>
            <pc:sldMk cId="2946575374" sldId="966"/>
            <ac:spMk id="19" creationId="{DF66E23D-567B-411C-A864-13720D7812F2}"/>
          </ac:spMkLst>
        </pc:sp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0" creationId="{DCF97C31-FFBB-4FD4-86E7-032E612A10B9}"/>
          </ac:graphicFrameMkLst>
        </pc:graphicFrameChg>
        <pc:graphicFrameChg chg="del">
          <ac:chgData name="Yijun" userId="6b140692-16f7-4f54-a783-028f16aab7b0" providerId="ADAL" clId="{0DB6C373-213C-43F5-9A30-7F7050891F52}" dt="2022-02-18T19:06:55.589" v="176" actId="478"/>
          <ac:graphicFrameMkLst>
            <pc:docMk/>
            <pc:sldMk cId="2946575374" sldId="966"/>
            <ac:graphicFrameMk id="11" creationId="{D3670E61-21A9-4AC6-85F3-661DDA195239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2" creationId="{535B49C9-81FE-4BD5-978E-8530556BD6B3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3" creationId="{2A03302F-8DAA-4A2C-9729-66FC7BF3E942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4" creationId="{91266DC3-A958-41F4-982F-972C3EBC0CBE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5" creationId="{96E0EFD8-D79E-4283-800B-12F669AF8115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6" creationId="{259E7E99-D3F1-4816-9E9F-A4F120340311}"/>
          </ac:graphicFrameMkLst>
        </pc:graphicFrameChg>
        <pc:graphicFrameChg chg="add del mod">
          <ac:chgData name="Yijun" userId="6b140692-16f7-4f54-a783-028f16aab7b0" providerId="ADAL" clId="{0DB6C373-213C-43F5-9A30-7F7050891F52}" dt="2022-02-18T19:07:21.335" v="180" actId="478"/>
          <ac:graphicFrameMkLst>
            <pc:docMk/>
            <pc:sldMk cId="2946575374" sldId="966"/>
            <ac:graphicFrameMk id="17" creationId="{F8D4DC22-9F6D-44EE-A6AD-C54FBD8237D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58.443" v="257" actId="6549"/>
          <ac:graphicFrameMkLst>
            <pc:docMk/>
            <pc:sldMk cId="2946575374" sldId="966"/>
            <ac:graphicFrameMk id="20" creationId="{A7B454F3-1578-460B-B386-F990E7A066DA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3:54.327" v="318" actId="20577"/>
          <ac:graphicFrameMkLst>
            <pc:docMk/>
            <pc:sldMk cId="2946575374" sldId="966"/>
            <ac:graphicFrameMk id="21" creationId="{E57EF3D6-09BF-4A1D-AD08-D44D3E422114}"/>
          </ac:graphicFrameMkLst>
        </pc:graphicFrameChg>
        <pc:graphicFrameChg chg="add mod">
          <ac:chgData name="Yijun" userId="6b140692-16f7-4f54-a783-028f16aab7b0" providerId="ADAL" clId="{0DB6C373-213C-43F5-9A30-7F7050891F52}" dt="2022-02-18T19:11:46.236" v="266" actId="20577"/>
          <ac:graphicFrameMkLst>
            <pc:docMk/>
            <pc:sldMk cId="2946575374" sldId="966"/>
            <ac:graphicFrameMk id="22" creationId="{7779FFFB-A921-4838-89DA-012865EFC361}"/>
          </ac:graphicFrameMkLst>
        </pc:graphicFrameChg>
        <pc:graphicFrameChg chg="add mod">
          <ac:chgData name="Yijun" userId="6b140692-16f7-4f54-a783-028f16aab7b0" providerId="ADAL" clId="{0DB6C373-213C-43F5-9A30-7F7050891F52}" dt="2022-02-18T19:13:16.335" v="301" actId="20577"/>
          <ac:graphicFrameMkLst>
            <pc:docMk/>
            <pc:sldMk cId="2946575374" sldId="966"/>
            <ac:graphicFrameMk id="23" creationId="{741C39AB-E776-4FEA-835D-D959662F7BB6}"/>
          </ac:graphicFrameMkLst>
        </pc:graphicFrameChg>
        <pc:graphicFrameChg chg="add mod">
          <ac:chgData name="Yijun" userId="6b140692-16f7-4f54-a783-028f16aab7b0" providerId="ADAL" clId="{0DB6C373-213C-43F5-9A30-7F7050891F52}" dt="2022-02-18T19:13:39.248" v="314" actId="20577"/>
          <ac:graphicFrameMkLst>
            <pc:docMk/>
            <pc:sldMk cId="2946575374" sldId="966"/>
            <ac:graphicFrameMk id="24" creationId="{A45D40D4-FAF3-4131-A71F-CD6D5F36F16B}"/>
          </ac:graphicFrameMkLst>
        </pc:graphicFrameChg>
        <pc:graphicFrameChg chg="add mod">
          <ac:chgData name="Yijun" userId="6b140692-16f7-4f54-a783-028f16aab7b0" providerId="ADAL" clId="{0DB6C373-213C-43F5-9A30-7F7050891F52}" dt="2022-02-18T19:13:01.554" v="290" actId="20577"/>
          <ac:graphicFrameMkLst>
            <pc:docMk/>
            <pc:sldMk cId="2946575374" sldId="966"/>
            <ac:graphicFrameMk id="25" creationId="{AC3F24F2-6504-4A66-A112-98E04DC3415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10:14.873" v="220" actId="20577"/>
          <ac:graphicFrameMkLst>
            <pc:docMk/>
            <pc:sldMk cId="2946575374" sldId="966"/>
            <ac:graphicFrameMk id="26" creationId="{BFE2AC05-9722-4DD2-A0FE-4D2D5E4A015C}"/>
          </ac:graphicFrameMkLst>
        </pc:graphicFrameChg>
        <pc:picChg chg="mod ord">
          <ac:chgData name="Yijun" userId="6b140692-16f7-4f54-a783-028f16aab7b0" providerId="ADAL" clId="{0DB6C373-213C-43F5-9A30-7F7050891F52}" dt="2022-02-18T19:08:26.777" v="196" actId="167"/>
          <ac:picMkLst>
            <pc:docMk/>
            <pc:sldMk cId="2946575374" sldId="966"/>
            <ac:picMk id="8" creationId="{06C70FF1-5387-4B27-B988-0BFA6561947B}"/>
          </ac:picMkLst>
        </pc:picChg>
        <pc:picChg chg="add del mod ord">
          <ac:chgData name="Yijun" userId="6b140692-16f7-4f54-a783-028f16aab7b0" providerId="ADAL" clId="{0DB6C373-213C-43F5-9A30-7F7050891F52}" dt="2022-02-18T19:08:27.766" v="197" actId="478"/>
          <ac:picMkLst>
            <pc:docMk/>
            <pc:sldMk cId="2946575374" sldId="966"/>
            <ac:picMk id="27" creationId="{9580C0E6-4AC9-4016-9BC1-CB924BD493B5}"/>
          </ac:picMkLst>
        </pc:picChg>
      </pc:sldChg>
      <pc:sldChg chg="del">
        <pc:chgData name="Yijun" userId="6b140692-16f7-4f54-a783-028f16aab7b0" providerId="ADAL" clId="{0DB6C373-213C-43F5-9A30-7F7050891F52}" dt="2022-02-18T18:53:11.930" v="90" actId="47"/>
        <pc:sldMkLst>
          <pc:docMk/>
          <pc:sldMk cId="2377291520" sldId="967"/>
        </pc:sldMkLst>
      </pc:sldChg>
      <pc:sldChg chg="addSp delSp modSp mod ord">
        <pc:chgData name="Yijun" userId="6b140692-16f7-4f54-a783-028f16aab7b0" providerId="ADAL" clId="{0DB6C373-213C-43F5-9A30-7F7050891F52}" dt="2022-02-18T20:15:46.113" v="1563"/>
        <pc:sldMkLst>
          <pc:docMk/>
          <pc:sldMk cId="3135331644" sldId="968"/>
        </pc:sldMkLst>
        <pc:spChg chg="mod">
          <ac:chgData name="Yijun" userId="6b140692-16f7-4f54-a783-028f16aab7b0" providerId="ADAL" clId="{0DB6C373-213C-43F5-9A30-7F7050891F52}" dt="2022-02-18T20:15:46.113" v="1563"/>
          <ac:spMkLst>
            <pc:docMk/>
            <pc:sldMk cId="3135331644" sldId="968"/>
            <ac:spMk id="7" creationId="{9BB91087-2CBD-4598-BE8C-EC616EFEC33F}"/>
          </ac:spMkLst>
        </pc:spChg>
        <pc:spChg chg="del mod">
          <ac:chgData name="Yijun" userId="6b140692-16f7-4f54-a783-028f16aab7b0" providerId="ADAL" clId="{0DB6C373-213C-43F5-9A30-7F7050891F52}" dt="2022-02-18T19:18:26.391" v="328" actId="478"/>
          <ac:spMkLst>
            <pc:docMk/>
            <pc:sldMk cId="3135331644" sldId="968"/>
            <ac:spMk id="9" creationId="{F1889CB5-9135-4CD8-844A-2974C68646C7}"/>
          </ac:spMkLst>
        </pc:spChg>
        <pc:spChg chg="add del mod">
          <ac:chgData name="Yijun" userId="6b140692-16f7-4f54-a783-028f16aab7b0" providerId="ADAL" clId="{0DB6C373-213C-43F5-9A30-7F7050891F52}" dt="2022-02-18T19:18:22.679" v="326" actId="478"/>
          <ac:spMkLst>
            <pc:docMk/>
            <pc:sldMk cId="3135331644" sldId="968"/>
            <ac:spMk id="10" creationId="{9E0FA79D-D21D-4ACF-A158-9677F5B40BFC}"/>
          </ac:spMkLst>
        </pc:spChg>
        <pc:graphicFrameChg chg="del">
          <ac:chgData name="Yijun" userId="6b140692-16f7-4f54-a783-028f16aab7b0" providerId="ADAL" clId="{0DB6C373-213C-43F5-9A30-7F7050891F52}" dt="2022-02-18T19:18:08.326" v="320" actId="478"/>
          <ac:graphicFrameMkLst>
            <pc:docMk/>
            <pc:sldMk cId="3135331644" sldId="968"/>
            <ac:graphicFrameMk id="11" creationId="{7CBB3C63-8D5B-4919-A2B5-DFFBB92D872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9:53.139" v="568" actId="20577"/>
          <ac:graphicFrameMkLst>
            <pc:docMk/>
            <pc:sldMk cId="3135331644" sldId="968"/>
            <ac:graphicFrameMk id="12" creationId="{CE4C07C5-430E-454F-BE31-E4D45FB2229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6:58.130" v="477" actId="20577"/>
          <ac:graphicFrameMkLst>
            <pc:docMk/>
            <pc:sldMk cId="3135331644" sldId="968"/>
            <ac:graphicFrameMk id="13" creationId="{576F39A8-6A81-4020-B3D7-9C78DE289A31}"/>
          </ac:graphicFrameMkLst>
        </pc:graphicFrameChg>
        <pc:graphicFrameChg chg="add mod">
          <ac:chgData name="Yijun" userId="6b140692-16f7-4f54-a783-028f16aab7b0" providerId="ADAL" clId="{0DB6C373-213C-43F5-9A30-7F7050891F52}" dt="2022-02-18T19:25:13.573" v="425" actId="6549"/>
          <ac:graphicFrameMkLst>
            <pc:docMk/>
            <pc:sldMk cId="3135331644" sldId="968"/>
            <ac:graphicFrameMk id="14" creationId="{88CA2FA7-057A-404E-A779-356CC2464E57}"/>
          </ac:graphicFrameMkLst>
        </pc:graphicFrameChg>
        <pc:graphicFrameChg chg="add mod">
          <ac:chgData name="Yijun" userId="6b140692-16f7-4f54-a783-028f16aab7b0" providerId="ADAL" clId="{0DB6C373-213C-43F5-9A30-7F7050891F52}" dt="2022-02-18T19:26:02.805" v="460" actId="20577"/>
          <ac:graphicFrameMkLst>
            <pc:docMk/>
            <pc:sldMk cId="3135331644" sldId="968"/>
            <ac:graphicFrameMk id="15" creationId="{95FA1488-5044-4180-89B8-B1CBEAD1EE50}"/>
          </ac:graphicFrameMkLst>
        </pc:graphicFrameChg>
        <pc:graphicFrameChg chg="add mod">
          <ac:chgData name="Yijun" userId="6b140692-16f7-4f54-a783-028f16aab7b0" providerId="ADAL" clId="{0DB6C373-213C-43F5-9A30-7F7050891F52}" dt="2022-02-18T19:26:44.337" v="472" actId="20577"/>
          <ac:graphicFrameMkLst>
            <pc:docMk/>
            <pc:sldMk cId="3135331644" sldId="968"/>
            <ac:graphicFrameMk id="16" creationId="{05107162-A439-45BD-A0B9-422B6C21D7F0}"/>
          </ac:graphicFrameMkLst>
        </pc:graphicFrameChg>
        <pc:graphicFrameChg chg="add mod">
          <ac:chgData name="Yijun" userId="6b140692-16f7-4f54-a783-028f16aab7b0" providerId="ADAL" clId="{0DB6C373-213C-43F5-9A30-7F7050891F52}" dt="2022-02-18T19:25:39.952" v="446" actId="6549"/>
          <ac:graphicFrameMkLst>
            <pc:docMk/>
            <pc:sldMk cId="3135331644" sldId="968"/>
            <ac:graphicFrameMk id="17" creationId="{848B4599-8F44-4CE8-9A18-A25C7BFD281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3:21.469" v="366" actId="20577"/>
          <ac:graphicFrameMkLst>
            <pc:docMk/>
            <pc:sldMk cId="3135331644" sldId="968"/>
            <ac:graphicFrameMk id="18" creationId="{BF9A1C16-0291-4EBD-BC50-A556C1A54223}"/>
          </ac:graphicFrameMkLst>
        </pc:graphicFrameChg>
        <pc:picChg chg="add del mod ord">
          <ac:chgData name="Yijun" userId="6b140692-16f7-4f54-a783-028f16aab7b0" providerId="ADAL" clId="{0DB6C373-213C-43F5-9A30-7F7050891F52}" dt="2022-02-18T19:18:47.028" v="335" actId="167"/>
          <ac:picMkLst>
            <pc:docMk/>
            <pc:sldMk cId="3135331644" sldId="968"/>
            <ac:picMk id="8" creationId="{BF3389A9-216F-4190-9E50-2289D2E9F629}"/>
          </ac:picMkLst>
        </pc:picChg>
        <pc:picChg chg="add del mod ord">
          <ac:chgData name="Yijun" userId="6b140692-16f7-4f54-a783-028f16aab7b0" providerId="ADAL" clId="{0DB6C373-213C-43F5-9A30-7F7050891F52}" dt="2022-02-18T19:18:48.326" v="336" actId="478"/>
          <ac:picMkLst>
            <pc:docMk/>
            <pc:sldMk cId="3135331644" sldId="968"/>
            <ac:picMk id="19" creationId="{27F013AF-D12A-4254-9F04-52191BF8C0D0}"/>
          </ac:picMkLst>
        </pc:picChg>
      </pc:sldChg>
      <pc:sldChg chg="del">
        <pc:chgData name="Yijun" userId="6b140692-16f7-4f54-a783-028f16aab7b0" providerId="ADAL" clId="{0DB6C373-213C-43F5-9A30-7F7050891F52}" dt="2022-02-18T19:27:44.061" v="478" actId="47"/>
        <pc:sldMkLst>
          <pc:docMk/>
          <pc:sldMk cId="3985847910" sldId="969"/>
        </pc:sldMkLst>
      </pc:sldChg>
      <pc:sldChg chg="addSp delSp modSp mod">
        <pc:chgData name="Yijun" userId="6b140692-16f7-4f54-a783-028f16aab7b0" providerId="ADAL" clId="{0DB6C373-213C-43F5-9A30-7F7050891F52}" dt="2022-02-18T20:15:54.480" v="1565"/>
        <pc:sldMkLst>
          <pc:docMk/>
          <pc:sldMk cId="2959194026" sldId="970"/>
        </pc:sldMkLst>
        <pc:spChg chg="mod">
          <ac:chgData name="Yijun" userId="6b140692-16f7-4f54-a783-028f16aab7b0" providerId="ADAL" clId="{0DB6C373-213C-43F5-9A30-7F7050891F52}" dt="2022-02-18T20:15:54.480" v="1565"/>
          <ac:spMkLst>
            <pc:docMk/>
            <pc:sldMk cId="2959194026" sldId="970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28:05.075" v="480" actId="478"/>
          <ac:spMkLst>
            <pc:docMk/>
            <pc:sldMk cId="2959194026" sldId="970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28:05.896" v="481"/>
          <ac:spMkLst>
            <pc:docMk/>
            <pc:sldMk cId="2959194026" sldId="970"/>
            <ac:spMk id="10" creationId="{B7BC6CB6-B60F-4AF6-93FE-52C58B19A0E1}"/>
          </ac:spMkLst>
        </pc:spChg>
        <pc:graphicFrameChg chg="del">
          <ac:chgData name="Yijun" userId="6b140692-16f7-4f54-a783-028f16aab7b0" providerId="ADAL" clId="{0DB6C373-213C-43F5-9A30-7F7050891F52}" dt="2022-02-18T19:28:02.851" v="479" actId="478"/>
          <ac:graphicFrameMkLst>
            <pc:docMk/>
            <pc:sldMk cId="2959194026" sldId="970"/>
            <ac:graphicFrameMk id="11" creationId="{497F6702-3903-4E99-96F4-D5D8720C9582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34:08.155" v="608" actId="6549"/>
          <ac:graphicFrameMkLst>
            <pc:docMk/>
            <pc:sldMk cId="2959194026" sldId="970"/>
            <ac:graphicFrameMk id="12" creationId="{57729A7C-C11F-411E-9A04-A8D36B4BB6BD}"/>
          </ac:graphicFrameMkLst>
        </pc:graphicFrameChg>
        <pc:graphicFrameChg chg="add mod">
          <ac:chgData name="Yijun" userId="6b140692-16f7-4f54-a783-028f16aab7b0" providerId="ADAL" clId="{0DB6C373-213C-43F5-9A30-7F7050891F52}" dt="2022-02-18T19:35:56.681" v="617" actId="20577"/>
          <ac:graphicFrameMkLst>
            <pc:docMk/>
            <pc:sldMk cId="2959194026" sldId="970"/>
            <ac:graphicFrameMk id="13" creationId="{CD6B9BD7-2290-4062-B46F-C1FF122E6189}"/>
          </ac:graphicFrameMkLst>
        </pc:graphicFrameChg>
        <pc:graphicFrameChg chg="add mod">
          <ac:chgData name="Yijun" userId="6b140692-16f7-4f54-a783-028f16aab7b0" providerId="ADAL" clId="{0DB6C373-213C-43F5-9A30-7F7050891F52}" dt="2022-02-18T19:36:45.214" v="646" actId="20577"/>
          <ac:graphicFrameMkLst>
            <pc:docMk/>
            <pc:sldMk cId="2959194026" sldId="970"/>
            <ac:graphicFrameMk id="14" creationId="{B5EC6886-35AB-43FB-9C85-2417CA815729}"/>
          </ac:graphicFrameMkLst>
        </pc:graphicFrameChg>
        <pc:graphicFrameChg chg="add mod">
          <ac:chgData name="Yijun" userId="6b140692-16f7-4f54-a783-028f16aab7b0" providerId="ADAL" clId="{0DB6C373-213C-43F5-9A30-7F7050891F52}" dt="2022-02-18T19:37:11.903" v="658" actId="20577"/>
          <ac:graphicFrameMkLst>
            <pc:docMk/>
            <pc:sldMk cId="2959194026" sldId="970"/>
            <ac:graphicFrameMk id="15" creationId="{760E4BDB-4B8C-4590-8A82-B9FD0F8CFB4F}"/>
          </ac:graphicFrameMkLst>
        </pc:graphicFrameChg>
        <pc:graphicFrameChg chg="add mod">
          <ac:chgData name="Yijun" userId="6b140692-16f7-4f54-a783-028f16aab7b0" providerId="ADAL" clId="{0DB6C373-213C-43F5-9A30-7F7050891F52}" dt="2022-02-18T19:36:25.694" v="634" actId="6549"/>
          <ac:graphicFrameMkLst>
            <pc:docMk/>
            <pc:sldMk cId="2959194026" sldId="970"/>
            <ac:graphicFrameMk id="16" creationId="{80AB5DE4-1D24-4B9B-8564-185E2E2FD09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28:59.971" v="543" actId="20577"/>
          <ac:graphicFrameMkLst>
            <pc:docMk/>
            <pc:sldMk cId="2959194026" sldId="970"/>
            <ac:graphicFrameMk id="17" creationId="{C90CE62D-BFDF-432C-B08D-D1FDAF0098AC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0:20.466" v="673" actId="20577"/>
          <ac:graphicFrameMkLst>
            <pc:docMk/>
            <pc:sldMk cId="2959194026" sldId="970"/>
            <ac:graphicFrameMk id="18" creationId="{93C59C5C-3D17-4B81-A2E2-A4E3E6D6D909}"/>
          </ac:graphicFrameMkLst>
        </pc:graphicFrameChg>
        <pc:picChg chg="mod ord">
          <ac:chgData name="Yijun" userId="6b140692-16f7-4f54-a783-028f16aab7b0" providerId="ADAL" clId="{0DB6C373-213C-43F5-9A30-7F7050891F52}" dt="2022-02-18T19:28:24.382" v="485" actId="167"/>
          <ac:picMkLst>
            <pc:docMk/>
            <pc:sldMk cId="2959194026" sldId="970"/>
            <ac:picMk id="3" creationId="{E60A0B68-2BA4-434A-A047-23A4853E83C9}"/>
          </ac:picMkLst>
        </pc:picChg>
        <pc:picChg chg="add del mod ord">
          <ac:chgData name="Yijun" userId="6b140692-16f7-4f54-a783-028f16aab7b0" providerId="ADAL" clId="{0DB6C373-213C-43F5-9A30-7F7050891F52}" dt="2022-02-18T19:28:25.507" v="486" actId="478"/>
          <ac:picMkLst>
            <pc:docMk/>
            <pc:sldMk cId="2959194026" sldId="970"/>
            <ac:picMk id="8" creationId="{1C6AEB8F-B586-4BA6-93E1-4C7B8DD491CC}"/>
          </ac:picMkLst>
        </pc:picChg>
      </pc:sldChg>
      <pc:sldChg chg="del">
        <pc:chgData name="Yijun" userId="6b140692-16f7-4f54-a783-028f16aab7b0" providerId="ADAL" clId="{0DB6C373-213C-43F5-9A30-7F7050891F52}" dt="2022-02-18T19:29:08.989" v="544" actId="47"/>
        <pc:sldMkLst>
          <pc:docMk/>
          <pc:sldMk cId="3158449188" sldId="971"/>
        </pc:sldMkLst>
      </pc:sldChg>
      <pc:sldChg chg="addSp delSp modSp mod">
        <pc:chgData name="Yijun" userId="6b140692-16f7-4f54-a783-028f16aab7b0" providerId="ADAL" clId="{0DB6C373-213C-43F5-9A30-7F7050891F52}" dt="2022-02-18T20:15:56.497" v="1566"/>
        <pc:sldMkLst>
          <pc:docMk/>
          <pc:sldMk cId="505836785" sldId="972"/>
        </pc:sldMkLst>
        <pc:spChg chg="mod">
          <ac:chgData name="Yijun" userId="6b140692-16f7-4f54-a783-028f16aab7b0" providerId="ADAL" clId="{0DB6C373-213C-43F5-9A30-7F7050891F52}" dt="2022-02-18T20:15:56.497" v="1566"/>
          <ac:spMkLst>
            <pc:docMk/>
            <pc:sldMk cId="505836785" sldId="972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19:43:52.199" v="679" actId="478"/>
          <ac:spMkLst>
            <pc:docMk/>
            <pc:sldMk cId="505836785" sldId="972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19:43:55.083" v="681"/>
          <ac:spMkLst>
            <pc:docMk/>
            <pc:sldMk cId="505836785" sldId="972"/>
            <ac:spMk id="10" creationId="{6B6AA183-3364-43D7-8CC3-684C0F90877F}"/>
          </ac:spMkLst>
        </pc:spChg>
        <pc:graphicFrameChg chg="del">
          <ac:chgData name="Yijun" userId="6b140692-16f7-4f54-a783-028f16aab7b0" providerId="ADAL" clId="{0DB6C373-213C-43F5-9A30-7F7050891F52}" dt="2022-02-18T19:43:53.959" v="680" actId="478"/>
          <ac:graphicFrameMkLst>
            <pc:docMk/>
            <pc:sldMk cId="505836785" sldId="972"/>
            <ac:graphicFrameMk id="11" creationId="{756BA5A8-8D27-452F-B0FD-DEF6BCEB89FB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6:00.986" v="759" actId="6549"/>
          <ac:graphicFrameMkLst>
            <pc:docMk/>
            <pc:sldMk cId="505836785" sldId="972"/>
            <ac:graphicFrameMk id="12" creationId="{C2BBC412-C5F8-4F5A-8016-D14314B83933}"/>
          </ac:graphicFrameMkLst>
        </pc:graphicFrameChg>
        <pc:graphicFrameChg chg="add mod">
          <ac:chgData name="Yijun" userId="6b140692-16f7-4f54-a783-028f16aab7b0" providerId="ADAL" clId="{0DB6C373-213C-43F5-9A30-7F7050891F52}" dt="2022-02-18T19:46:09.642" v="768" actId="20577"/>
          <ac:graphicFrameMkLst>
            <pc:docMk/>
            <pc:sldMk cId="505836785" sldId="972"/>
            <ac:graphicFrameMk id="13" creationId="{B42E0A57-3F5A-485E-B3CD-835D02F1C512}"/>
          </ac:graphicFrameMkLst>
        </pc:graphicFrameChg>
        <pc:graphicFrameChg chg="add mod">
          <ac:chgData name="Yijun" userId="6b140692-16f7-4f54-a783-028f16aab7b0" providerId="ADAL" clId="{0DB6C373-213C-43F5-9A30-7F7050891F52}" dt="2022-02-18T19:46:52.667" v="797" actId="6549"/>
          <ac:graphicFrameMkLst>
            <pc:docMk/>
            <pc:sldMk cId="505836785" sldId="972"/>
            <ac:graphicFrameMk id="14" creationId="{750355A1-7DE1-4AF5-AAD3-1FF6935BD63D}"/>
          </ac:graphicFrameMkLst>
        </pc:graphicFrameChg>
        <pc:graphicFrameChg chg="add mod">
          <ac:chgData name="Yijun" userId="6b140692-16f7-4f54-a783-028f16aab7b0" providerId="ADAL" clId="{0DB6C373-213C-43F5-9A30-7F7050891F52}" dt="2022-02-18T19:47:14.331" v="809" actId="20577"/>
          <ac:graphicFrameMkLst>
            <pc:docMk/>
            <pc:sldMk cId="505836785" sldId="972"/>
            <ac:graphicFrameMk id="15" creationId="{C081EF82-EF4B-4C23-9DFE-B8F42911DF4B}"/>
          </ac:graphicFrameMkLst>
        </pc:graphicFrameChg>
        <pc:graphicFrameChg chg="add mod">
          <ac:chgData name="Yijun" userId="6b140692-16f7-4f54-a783-028f16aab7b0" providerId="ADAL" clId="{0DB6C373-213C-43F5-9A30-7F7050891F52}" dt="2022-02-18T19:46:33.181" v="780" actId="20577"/>
          <ac:graphicFrameMkLst>
            <pc:docMk/>
            <pc:sldMk cId="505836785" sldId="972"/>
            <ac:graphicFrameMk id="16" creationId="{1E234DC1-5B9D-49AD-8266-53312BC28A11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45:08.793" v="715" actId="6549"/>
          <ac:graphicFrameMkLst>
            <pc:docMk/>
            <pc:sldMk cId="505836785" sldId="972"/>
            <ac:graphicFrameMk id="17" creationId="{7809CF82-E4E7-458F-B59A-53188B598053}"/>
          </ac:graphicFrameMkLst>
        </pc:graphicFrameChg>
        <pc:graphicFrameChg chg="add mod">
          <ac:chgData name="Yijun" userId="6b140692-16f7-4f54-a783-028f16aab7b0" providerId="ADAL" clId="{0DB6C373-213C-43F5-9A30-7F7050891F52}" dt="2022-02-18T19:43:55.083" v="681"/>
          <ac:graphicFrameMkLst>
            <pc:docMk/>
            <pc:sldMk cId="505836785" sldId="972"/>
            <ac:graphicFrameMk id="18" creationId="{995AA15F-A82F-465F-A71E-66B15003C346}"/>
          </ac:graphicFrameMkLst>
        </pc:graphicFrameChg>
        <pc:picChg chg="mod ord">
          <ac:chgData name="Yijun" userId="6b140692-16f7-4f54-a783-028f16aab7b0" providerId="ADAL" clId="{0DB6C373-213C-43F5-9A30-7F7050891F52}" dt="2022-02-18T19:44:12.490" v="687" actId="167"/>
          <ac:picMkLst>
            <pc:docMk/>
            <pc:sldMk cId="505836785" sldId="972"/>
            <ac:picMk id="8" creationId="{E9B347C4-A360-4A6C-A359-F7D0DF6A99FD}"/>
          </ac:picMkLst>
        </pc:picChg>
        <pc:picChg chg="add del mod ord">
          <ac:chgData name="Yijun" userId="6b140692-16f7-4f54-a783-028f16aab7b0" providerId="ADAL" clId="{0DB6C373-213C-43F5-9A30-7F7050891F52}" dt="2022-02-18T19:44:13.800" v="688" actId="478"/>
          <ac:picMkLst>
            <pc:docMk/>
            <pc:sldMk cId="505836785" sldId="972"/>
            <ac:picMk id="19" creationId="{F20B34F0-A8CC-4944-A8A8-F73D4935FA0A}"/>
          </ac:picMkLst>
        </pc:picChg>
      </pc:sldChg>
      <pc:sldChg chg="del">
        <pc:chgData name="Yijun" userId="6b140692-16f7-4f54-a783-028f16aab7b0" providerId="ADAL" clId="{0DB6C373-213C-43F5-9A30-7F7050891F52}" dt="2022-02-18T19:43:49.685" v="678" actId="47"/>
        <pc:sldMkLst>
          <pc:docMk/>
          <pc:sldMk cId="2951351453" sldId="973"/>
        </pc:sldMkLst>
      </pc:sldChg>
      <pc:sldChg chg="addSp delSp modSp mod">
        <pc:chgData name="Yijun" userId="6b140692-16f7-4f54-a783-028f16aab7b0" providerId="ADAL" clId="{0DB6C373-213C-43F5-9A30-7F7050891F52}" dt="2022-02-18T20:16:04.241" v="1569"/>
        <pc:sldMkLst>
          <pc:docMk/>
          <pc:sldMk cId="1444324459" sldId="975"/>
        </pc:sldMkLst>
        <pc:spChg chg="mod">
          <ac:chgData name="Yijun" userId="6b140692-16f7-4f54-a783-028f16aab7b0" providerId="ADAL" clId="{0DB6C373-213C-43F5-9A30-7F7050891F52}" dt="2022-02-18T20:16:04.241" v="1569"/>
          <ac:spMkLst>
            <pc:docMk/>
            <pc:sldMk cId="1444324459" sldId="975"/>
            <ac:spMk id="7" creationId="{9BB91087-2CBD-4598-BE8C-EC616EFEC33F}"/>
          </ac:spMkLst>
        </pc:spChg>
        <pc:spChg chg="del">
          <ac:chgData name="Yijun" userId="6b140692-16f7-4f54-a783-028f16aab7b0" providerId="ADAL" clId="{0DB6C373-213C-43F5-9A30-7F7050891F52}" dt="2022-02-18T20:00:07.513" v="1169" actId="478"/>
          <ac:spMkLst>
            <pc:docMk/>
            <pc:sldMk cId="1444324459" sldId="975"/>
            <ac:spMk id="9" creationId="{F1889CB5-9135-4CD8-844A-2974C68646C7}"/>
          </ac:spMkLst>
        </pc:spChg>
        <pc:spChg chg="add mod">
          <ac:chgData name="Yijun" userId="6b140692-16f7-4f54-a783-028f16aab7b0" providerId="ADAL" clId="{0DB6C373-213C-43F5-9A30-7F7050891F52}" dt="2022-02-18T20:00:08.574" v="1170"/>
          <ac:spMkLst>
            <pc:docMk/>
            <pc:sldMk cId="1444324459" sldId="975"/>
            <ac:spMk id="10" creationId="{D7C2E9C2-8B1E-426B-926F-B7AAE3B127CF}"/>
          </ac:spMkLst>
        </pc:spChg>
        <pc:graphicFrameChg chg="del">
          <ac:chgData name="Yijun" userId="6b140692-16f7-4f54-a783-028f16aab7b0" providerId="ADAL" clId="{0DB6C373-213C-43F5-9A30-7F7050891F52}" dt="2022-02-18T20:00:06.650" v="1168" actId="478"/>
          <ac:graphicFrameMkLst>
            <pc:docMk/>
            <pc:sldMk cId="1444324459" sldId="975"/>
            <ac:graphicFrameMk id="11" creationId="{56E40AB7-7B70-447E-B5F1-945F72E0201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1:21.067" v="1256" actId="6549"/>
          <ac:graphicFrameMkLst>
            <pc:docMk/>
            <pc:sldMk cId="1444324459" sldId="975"/>
            <ac:graphicFrameMk id="12" creationId="{AB89343A-E2F8-4146-AE7E-3A7F2E97BA60}"/>
          </ac:graphicFrameMkLst>
        </pc:graphicFrameChg>
        <pc:graphicFrameChg chg="add mod">
          <ac:chgData name="Yijun" userId="6b140692-16f7-4f54-a783-028f16aab7b0" providerId="ADAL" clId="{0DB6C373-213C-43F5-9A30-7F7050891F52}" dt="2022-02-18T20:01:36.159" v="1274" actId="6549"/>
          <ac:graphicFrameMkLst>
            <pc:docMk/>
            <pc:sldMk cId="1444324459" sldId="975"/>
            <ac:graphicFrameMk id="13" creationId="{412DB1E2-4EB5-4AF9-8B80-BF11461341B9}"/>
          </ac:graphicFrameMkLst>
        </pc:graphicFrameChg>
        <pc:graphicFrameChg chg="add mod">
          <ac:chgData name="Yijun" userId="6b140692-16f7-4f54-a783-028f16aab7b0" providerId="ADAL" clId="{0DB6C373-213C-43F5-9A30-7F7050891F52}" dt="2022-02-18T20:02:16.268" v="1316" actId="6549"/>
          <ac:graphicFrameMkLst>
            <pc:docMk/>
            <pc:sldMk cId="1444324459" sldId="975"/>
            <ac:graphicFrameMk id="14" creationId="{369E3CC3-1BDE-4C43-9110-85687EA40A6F}"/>
          </ac:graphicFrameMkLst>
        </pc:graphicFrameChg>
        <pc:graphicFrameChg chg="add mod">
          <ac:chgData name="Yijun" userId="6b140692-16f7-4f54-a783-028f16aab7b0" providerId="ADAL" clId="{0DB6C373-213C-43F5-9A30-7F7050891F52}" dt="2022-02-18T20:02:50.188" v="1328" actId="20577"/>
          <ac:graphicFrameMkLst>
            <pc:docMk/>
            <pc:sldMk cId="1444324459" sldId="975"/>
            <ac:graphicFrameMk id="15" creationId="{10AA1CD3-4CEF-4257-93DA-BB9B240DC203}"/>
          </ac:graphicFrameMkLst>
        </pc:graphicFrameChg>
        <pc:graphicFrameChg chg="add mod">
          <ac:chgData name="Yijun" userId="6b140692-16f7-4f54-a783-028f16aab7b0" providerId="ADAL" clId="{0DB6C373-213C-43F5-9A30-7F7050891F52}" dt="2022-02-18T20:01:58.123" v="1295" actId="6549"/>
          <ac:graphicFrameMkLst>
            <pc:docMk/>
            <pc:sldMk cId="1444324459" sldId="975"/>
            <ac:graphicFrameMk id="16" creationId="{B47D2610-D45B-485F-9C77-A598096EFA0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0:47.530" v="1210" actId="6549"/>
          <ac:graphicFrameMkLst>
            <pc:docMk/>
            <pc:sldMk cId="1444324459" sldId="975"/>
            <ac:graphicFrameMk id="17" creationId="{7C2518EF-7A09-441A-9F4B-754D5F501A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03:05.565" v="1338" actId="6549"/>
          <ac:graphicFrameMkLst>
            <pc:docMk/>
            <pc:sldMk cId="1444324459" sldId="975"/>
            <ac:graphicFrameMk id="18" creationId="{34C8B0D4-D1A3-47BB-AC62-9ABD46049BB3}"/>
          </ac:graphicFrameMkLst>
        </pc:graphicFrameChg>
        <pc:picChg chg="mod">
          <ac:chgData name="Yijun" userId="6b140692-16f7-4f54-a783-028f16aab7b0" providerId="ADAL" clId="{0DB6C373-213C-43F5-9A30-7F7050891F52}" dt="2022-02-18T20:00:20.346" v="1174" actId="14100"/>
          <ac:picMkLst>
            <pc:docMk/>
            <pc:sldMk cId="1444324459" sldId="975"/>
            <ac:picMk id="3" creationId="{EE692124-87CF-4DAD-B34D-FFFBEC4F29DD}"/>
          </ac:picMkLst>
        </pc:picChg>
        <pc:picChg chg="add mod ord">
          <ac:chgData name="Yijun" userId="6b140692-16f7-4f54-a783-028f16aab7b0" providerId="ADAL" clId="{0DB6C373-213C-43F5-9A30-7F7050891F52}" dt="2022-02-18T20:00:12.454" v="1171" actId="167"/>
          <ac:picMkLst>
            <pc:docMk/>
            <pc:sldMk cId="1444324459" sldId="975"/>
            <ac:picMk id="8" creationId="{217895CA-751B-496D-93A4-8CBEEF09CFD8}"/>
          </ac:picMkLst>
        </pc:picChg>
      </pc:sldChg>
      <pc:sldChg chg="del">
        <pc:chgData name="Yijun" userId="6b140692-16f7-4f54-a783-028f16aab7b0" providerId="ADAL" clId="{0DB6C373-213C-43F5-9A30-7F7050891F52}" dt="2022-02-18T19:49:16.841" v="827" actId="47"/>
        <pc:sldMkLst>
          <pc:docMk/>
          <pc:sldMk cId="2268268419" sldId="976"/>
        </pc:sldMkLst>
      </pc:sldChg>
      <pc:sldChg chg="modSp mod">
        <pc:chgData name="Yijun" userId="6b140692-16f7-4f54-a783-028f16aab7b0" providerId="ADAL" clId="{0DB6C373-213C-43F5-9A30-7F7050891F52}" dt="2022-02-18T20:16:08.113" v="1571"/>
        <pc:sldMkLst>
          <pc:docMk/>
          <pc:sldMk cId="3270783053" sldId="977"/>
        </pc:sldMkLst>
        <pc:spChg chg="mod">
          <ac:chgData name="Yijun" userId="6b140692-16f7-4f54-a783-028f16aab7b0" providerId="ADAL" clId="{0DB6C373-213C-43F5-9A30-7F7050891F52}" dt="2022-02-18T20:16:08.113" v="1571"/>
          <ac:spMkLst>
            <pc:docMk/>
            <pc:sldMk cId="3270783053" sldId="977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49:14.792" v="825" actId="47"/>
        <pc:sldMkLst>
          <pc:docMk/>
          <pc:sldMk cId="1043236540" sldId="978"/>
        </pc:sldMkLst>
      </pc:sldChg>
      <pc:sldChg chg="addSp delSp modSp mod">
        <pc:chgData name="Yijun" userId="6b140692-16f7-4f54-a783-028f16aab7b0" providerId="ADAL" clId="{0DB6C373-213C-43F5-9A30-7F7050891F52}" dt="2022-02-18T20:15:59.585" v="1567"/>
        <pc:sldMkLst>
          <pc:docMk/>
          <pc:sldMk cId="751954020" sldId="979"/>
        </pc:sldMkLst>
        <pc:spChg chg="mod">
          <ac:chgData name="Yijun" userId="6b140692-16f7-4f54-a783-028f16aab7b0" providerId="ADAL" clId="{0DB6C373-213C-43F5-9A30-7F7050891F52}" dt="2022-02-18T20:15:59.585" v="1567"/>
          <ac:spMkLst>
            <pc:docMk/>
            <pc:sldMk cId="751954020" sldId="979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49:32.134" v="832"/>
          <ac:spMkLst>
            <pc:docMk/>
            <pc:sldMk cId="751954020" sldId="979"/>
            <ac:spMk id="8" creationId="{FF44A82F-4BBF-4D11-ADFE-6542874B6670}"/>
          </ac:spMkLst>
        </pc:spChg>
        <pc:spChg chg="del">
          <ac:chgData name="Yijun" userId="6b140692-16f7-4f54-a783-028f16aab7b0" providerId="ADAL" clId="{0DB6C373-213C-43F5-9A30-7F7050891F52}" dt="2022-02-18T19:49:30.670" v="831" actId="478"/>
          <ac:spMkLst>
            <pc:docMk/>
            <pc:sldMk cId="751954020" sldId="979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0:59.104" v="920" actId="6549"/>
          <ac:graphicFrameMkLst>
            <pc:docMk/>
            <pc:sldMk cId="751954020" sldId="979"/>
            <ac:graphicFrameMk id="10" creationId="{E9DA345B-A98A-4B1F-9D33-53A4B5CF3531}"/>
          </ac:graphicFrameMkLst>
        </pc:graphicFrameChg>
        <pc:graphicFrameChg chg="del">
          <ac:chgData name="Yijun" userId="6b140692-16f7-4f54-a783-028f16aab7b0" providerId="ADAL" clId="{0DB6C373-213C-43F5-9A30-7F7050891F52}" dt="2022-02-18T19:49:29.646" v="830" actId="478"/>
          <ac:graphicFrameMkLst>
            <pc:docMk/>
            <pc:sldMk cId="751954020" sldId="979"/>
            <ac:graphicFrameMk id="11" creationId="{A630C45F-A573-499C-9016-20497DFD78A7}"/>
          </ac:graphicFrameMkLst>
        </pc:graphicFrameChg>
        <pc:graphicFrameChg chg="add mod">
          <ac:chgData name="Yijun" userId="6b140692-16f7-4f54-a783-028f16aab7b0" providerId="ADAL" clId="{0DB6C373-213C-43F5-9A30-7F7050891F52}" dt="2022-02-18T19:51:12.432" v="938" actId="6549"/>
          <ac:graphicFrameMkLst>
            <pc:docMk/>
            <pc:sldMk cId="751954020" sldId="979"/>
            <ac:graphicFrameMk id="12" creationId="{5114F41E-064D-4066-AB22-ECDF6BADD6D7}"/>
          </ac:graphicFrameMkLst>
        </pc:graphicFrameChg>
        <pc:graphicFrameChg chg="add mod">
          <ac:chgData name="Yijun" userId="6b140692-16f7-4f54-a783-028f16aab7b0" providerId="ADAL" clId="{0DB6C373-213C-43F5-9A30-7F7050891F52}" dt="2022-02-18T19:51:55.776" v="962" actId="20577"/>
          <ac:graphicFrameMkLst>
            <pc:docMk/>
            <pc:sldMk cId="751954020" sldId="979"/>
            <ac:graphicFrameMk id="13" creationId="{EB4F8CBB-8FCD-4A68-8D8B-41FCC767F9B4}"/>
          </ac:graphicFrameMkLst>
        </pc:graphicFrameChg>
        <pc:graphicFrameChg chg="add mod">
          <ac:chgData name="Yijun" userId="6b140692-16f7-4f54-a783-028f16aab7b0" providerId="ADAL" clId="{0DB6C373-213C-43F5-9A30-7F7050891F52}" dt="2022-02-18T19:52:18.240" v="974" actId="20577"/>
          <ac:graphicFrameMkLst>
            <pc:docMk/>
            <pc:sldMk cId="751954020" sldId="979"/>
            <ac:graphicFrameMk id="14" creationId="{C034BB91-21B0-43C4-A7DA-25781442FF0D}"/>
          </ac:graphicFrameMkLst>
        </pc:graphicFrameChg>
        <pc:graphicFrameChg chg="add mod">
          <ac:chgData name="Yijun" userId="6b140692-16f7-4f54-a783-028f16aab7b0" providerId="ADAL" clId="{0DB6C373-213C-43F5-9A30-7F7050891F52}" dt="2022-02-18T19:51:36.704" v="950" actId="20577"/>
          <ac:graphicFrameMkLst>
            <pc:docMk/>
            <pc:sldMk cId="751954020" sldId="979"/>
            <ac:graphicFrameMk id="15" creationId="{B7B4D279-7F7A-424D-9B5A-0BA966FB2F7F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0:17.310" v="869" actId="6549"/>
          <ac:graphicFrameMkLst>
            <pc:docMk/>
            <pc:sldMk cId="751954020" sldId="979"/>
            <ac:graphicFrameMk id="16" creationId="{B9D76534-85A8-4DE2-BCA5-14FF71B2C2A6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2:45.042" v="979" actId="6549"/>
          <ac:graphicFrameMkLst>
            <pc:docMk/>
            <pc:sldMk cId="751954020" sldId="979"/>
            <ac:graphicFrameMk id="17" creationId="{4CF2509F-3523-4574-8951-017EC3CCEFFD}"/>
          </ac:graphicFrameMkLst>
        </pc:graphicFrameChg>
        <pc:picChg chg="mod ord">
          <ac:chgData name="Yijun" userId="6b140692-16f7-4f54-a783-028f16aab7b0" providerId="ADAL" clId="{0DB6C373-213C-43F5-9A30-7F7050891F52}" dt="2022-02-18T19:49:47.617" v="838" actId="167"/>
          <ac:picMkLst>
            <pc:docMk/>
            <pc:sldMk cId="751954020" sldId="979"/>
            <ac:picMk id="3" creationId="{FF4E11C4-16B3-4549-9C44-46373BD8C4FC}"/>
          </ac:picMkLst>
        </pc:picChg>
        <pc:picChg chg="add del mod ord">
          <ac:chgData name="Yijun" userId="6b140692-16f7-4f54-a783-028f16aab7b0" providerId="ADAL" clId="{0DB6C373-213C-43F5-9A30-7F7050891F52}" dt="2022-02-18T19:49:48.574" v="839" actId="478"/>
          <ac:picMkLst>
            <pc:docMk/>
            <pc:sldMk cId="751954020" sldId="979"/>
            <ac:picMk id="18" creationId="{523B0D49-1D60-4432-82F2-C14EA8F00C94}"/>
          </ac:picMkLst>
        </pc:picChg>
      </pc:sldChg>
      <pc:sldChg chg="del">
        <pc:chgData name="Yijun" userId="6b140692-16f7-4f54-a783-028f16aab7b0" providerId="ADAL" clId="{0DB6C373-213C-43F5-9A30-7F7050891F52}" dt="2022-02-18T19:49:18.888" v="829" actId="47"/>
        <pc:sldMkLst>
          <pc:docMk/>
          <pc:sldMk cId="1136756573" sldId="980"/>
        </pc:sldMkLst>
      </pc:sldChg>
      <pc:sldChg chg="addSp delSp modSp mod">
        <pc:chgData name="Yijun" userId="6b140692-16f7-4f54-a783-028f16aab7b0" providerId="ADAL" clId="{0DB6C373-213C-43F5-9A30-7F7050891F52}" dt="2022-02-18T20:16:01.378" v="1568"/>
        <pc:sldMkLst>
          <pc:docMk/>
          <pc:sldMk cId="39603071" sldId="981"/>
        </pc:sldMkLst>
        <pc:spChg chg="mod">
          <ac:chgData name="Yijun" userId="6b140692-16f7-4f54-a783-028f16aab7b0" providerId="ADAL" clId="{0DB6C373-213C-43F5-9A30-7F7050891F52}" dt="2022-02-18T20:16:01.378" v="1568"/>
          <ac:spMkLst>
            <pc:docMk/>
            <pc:sldMk cId="39603071" sldId="981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55:15.345" v="1011"/>
          <ac:spMkLst>
            <pc:docMk/>
            <pc:sldMk cId="39603071" sldId="981"/>
            <ac:spMk id="8" creationId="{AE4D516E-D2AD-4A64-982C-63B3C00F6682}"/>
          </ac:spMkLst>
        </pc:spChg>
        <pc:spChg chg="del mod">
          <ac:chgData name="Yijun" userId="6b140692-16f7-4f54-a783-028f16aab7b0" providerId="ADAL" clId="{0DB6C373-213C-43F5-9A30-7F7050891F52}" dt="2022-02-18T19:57:10.880" v="1107" actId="478"/>
          <ac:spMkLst>
            <pc:docMk/>
            <pc:sldMk cId="39603071" sldId="981"/>
            <ac:spMk id="9" creationId="{F1889CB5-9135-4CD8-844A-2974C68646C7}"/>
          </ac:spMkLst>
        </pc:spChg>
        <pc:graphicFrameChg chg="add mod modGraphic">
          <ac:chgData name="Yijun" userId="6b140692-16f7-4f54-a783-028f16aab7b0" providerId="ADAL" clId="{0DB6C373-213C-43F5-9A30-7F7050891F52}" dt="2022-02-18T19:56:40.294" v="1093" actId="6549"/>
          <ac:graphicFrameMkLst>
            <pc:docMk/>
            <pc:sldMk cId="39603071" sldId="981"/>
            <ac:graphicFrameMk id="10" creationId="{600381C4-8551-4E4F-88B8-894232AB6BD3}"/>
          </ac:graphicFrameMkLst>
        </pc:graphicFrameChg>
        <pc:graphicFrameChg chg="del">
          <ac:chgData name="Yijun" userId="6b140692-16f7-4f54-a783-028f16aab7b0" providerId="ADAL" clId="{0DB6C373-213C-43F5-9A30-7F7050891F52}" dt="2022-02-18T19:55:14.468" v="1010" actId="478"/>
          <ac:graphicFrameMkLst>
            <pc:docMk/>
            <pc:sldMk cId="39603071" sldId="981"/>
            <ac:graphicFrameMk id="11" creationId="{9E9A0692-630D-4824-879B-8976E584033A}"/>
          </ac:graphicFrameMkLst>
        </pc:graphicFrameChg>
        <pc:graphicFrameChg chg="add mod">
          <ac:chgData name="Yijun" userId="6b140692-16f7-4f54-a783-028f16aab7b0" providerId="ADAL" clId="{0DB6C373-213C-43F5-9A30-7F7050891F52}" dt="2022-02-18T19:56:49.813" v="1102" actId="20577"/>
          <ac:graphicFrameMkLst>
            <pc:docMk/>
            <pc:sldMk cId="39603071" sldId="981"/>
            <ac:graphicFrameMk id="12" creationId="{9B25E492-8039-4C78-8399-3B7810EFD700}"/>
          </ac:graphicFrameMkLst>
        </pc:graphicFrameChg>
        <pc:graphicFrameChg chg="add mod">
          <ac:chgData name="Yijun" userId="6b140692-16f7-4f54-a783-028f16aab7b0" providerId="ADAL" clId="{0DB6C373-213C-43F5-9A30-7F7050891F52}" dt="2022-02-18T19:57:56.263" v="1130" actId="20577"/>
          <ac:graphicFrameMkLst>
            <pc:docMk/>
            <pc:sldMk cId="39603071" sldId="981"/>
            <ac:graphicFrameMk id="13" creationId="{1EAA44EB-55B8-4F21-9927-3B375B728B90}"/>
          </ac:graphicFrameMkLst>
        </pc:graphicFrameChg>
        <pc:graphicFrameChg chg="add mod">
          <ac:chgData name="Yijun" userId="6b140692-16f7-4f54-a783-028f16aab7b0" providerId="ADAL" clId="{0DB6C373-213C-43F5-9A30-7F7050891F52}" dt="2022-02-18T19:58:14.008" v="1142" actId="20577"/>
          <ac:graphicFrameMkLst>
            <pc:docMk/>
            <pc:sldMk cId="39603071" sldId="981"/>
            <ac:graphicFrameMk id="14" creationId="{592651FD-1FAC-4A80-AE4B-BCF2ED73FA73}"/>
          </ac:graphicFrameMkLst>
        </pc:graphicFrameChg>
        <pc:graphicFrameChg chg="add mod">
          <ac:chgData name="Yijun" userId="6b140692-16f7-4f54-a783-028f16aab7b0" providerId="ADAL" clId="{0DB6C373-213C-43F5-9A30-7F7050891F52}" dt="2022-02-18T19:57:33.431" v="1116" actId="20577"/>
          <ac:graphicFrameMkLst>
            <pc:docMk/>
            <pc:sldMk cId="39603071" sldId="981"/>
            <ac:graphicFrameMk id="15" creationId="{F46DE0B1-C247-491B-A3F5-2597FDEF2B7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6:02.549" v="1047" actId="6549"/>
          <ac:graphicFrameMkLst>
            <pc:docMk/>
            <pc:sldMk cId="39603071" sldId="981"/>
            <ac:graphicFrameMk id="16" creationId="{61A4F2F3-E00C-4260-B513-51EEABEDFEF0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19:58:28.431" v="1146" actId="20577"/>
          <ac:graphicFrameMkLst>
            <pc:docMk/>
            <pc:sldMk cId="39603071" sldId="981"/>
            <ac:graphicFrameMk id="17" creationId="{410F5B80-D038-4F5B-B9EC-49930B716CF9}"/>
          </ac:graphicFrameMkLst>
        </pc:graphicFrameChg>
        <pc:picChg chg="mod ord">
          <ac:chgData name="Yijun" userId="6b140692-16f7-4f54-a783-028f16aab7b0" providerId="ADAL" clId="{0DB6C373-213C-43F5-9A30-7F7050891F52}" dt="2022-02-18T19:55:29.118" v="1016" actId="167"/>
          <ac:picMkLst>
            <pc:docMk/>
            <pc:sldMk cId="39603071" sldId="981"/>
            <ac:picMk id="4" creationId="{F61A8E9C-CA12-4314-AD39-3A53BB608B6C}"/>
          </ac:picMkLst>
        </pc:picChg>
        <pc:picChg chg="add del mod ord">
          <ac:chgData name="Yijun" userId="6b140692-16f7-4f54-a783-028f16aab7b0" providerId="ADAL" clId="{0DB6C373-213C-43F5-9A30-7F7050891F52}" dt="2022-02-18T19:55:30.051" v="1017" actId="478"/>
          <ac:picMkLst>
            <pc:docMk/>
            <pc:sldMk cId="39603071" sldId="981"/>
            <ac:picMk id="18" creationId="{12C4CA5A-D940-458D-AE83-1641A4E0B4D9}"/>
          </ac:picMkLst>
        </pc:picChg>
      </pc:sldChg>
      <pc:sldChg chg="del">
        <pc:chgData name="Yijun" userId="6b140692-16f7-4f54-a783-028f16aab7b0" providerId="ADAL" clId="{0DB6C373-213C-43F5-9A30-7F7050891F52}" dt="2022-02-18T19:49:17.799" v="828" actId="47"/>
        <pc:sldMkLst>
          <pc:docMk/>
          <pc:sldMk cId="1655975674" sldId="982"/>
        </pc:sldMkLst>
      </pc:sldChg>
      <pc:sldChg chg="modSp mod">
        <pc:chgData name="Yijun" userId="6b140692-16f7-4f54-a783-028f16aab7b0" providerId="ADAL" clId="{0DB6C373-213C-43F5-9A30-7F7050891F52}" dt="2022-02-18T20:15:50.976" v="1564"/>
        <pc:sldMkLst>
          <pc:docMk/>
          <pc:sldMk cId="905708711" sldId="983"/>
        </pc:sldMkLst>
        <pc:spChg chg="mod">
          <ac:chgData name="Yijun" userId="6b140692-16f7-4f54-a783-028f16aab7b0" providerId="ADAL" clId="{0DB6C373-213C-43F5-9A30-7F7050891F52}" dt="2022-02-18T20:15:50.976" v="1564"/>
          <ac:spMkLst>
            <pc:docMk/>
            <pc:sldMk cId="905708711" sldId="983"/>
            <ac:spMk id="7" creationId="{9BB91087-2CBD-4598-BE8C-EC616EFEC33F}"/>
          </ac:spMkLst>
        </pc:spChg>
      </pc:sldChg>
      <pc:sldChg chg="del">
        <pc:chgData name="Yijun" userId="6b140692-16f7-4f54-a783-028f16aab7b0" providerId="ADAL" clId="{0DB6C373-213C-43F5-9A30-7F7050891F52}" dt="2022-02-18T19:17:29.935" v="319" actId="47"/>
        <pc:sldMkLst>
          <pc:docMk/>
          <pc:sldMk cId="21353686" sldId="984"/>
        </pc:sldMkLst>
      </pc:sldChg>
      <pc:sldChg chg="modSp mod">
        <pc:chgData name="Yijun" userId="6b140692-16f7-4f54-a783-028f16aab7b0" providerId="ADAL" clId="{0DB6C373-213C-43F5-9A30-7F7050891F52}" dt="2022-02-18T19:21:11.177" v="343" actId="108"/>
        <pc:sldMkLst>
          <pc:docMk/>
          <pc:sldMk cId="2829190684" sldId="985"/>
        </pc:sldMkLst>
        <pc:graphicFrameChg chg="mod modGraphic">
          <ac:chgData name="Yijun" userId="6b140692-16f7-4f54-a783-028f16aab7b0" providerId="ADAL" clId="{0DB6C373-213C-43F5-9A30-7F7050891F52}" dt="2022-02-18T19:21:11.177" v="343" actId="108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  <pc:sldChg chg="addSp modSp mod">
        <pc:chgData name="Yijun" userId="6b140692-16f7-4f54-a783-028f16aab7b0" providerId="ADAL" clId="{0DB6C373-213C-43F5-9A30-7F7050891F52}" dt="2022-02-18T20:15:29.994" v="1559" actId="20577"/>
        <pc:sldMkLst>
          <pc:docMk/>
          <pc:sldMk cId="1138880385" sldId="987"/>
        </pc:sldMkLst>
        <pc:spChg chg="mod">
          <ac:chgData name="Yijun" userId="6b140692-16f7-4f54-a783-028f16aab7b0" providerId="ADAL" clId="{0DB6C373-213C-43F5-9A30-7F7050891F52}" dt="2022-02-18T20:15:29.994" v="1559" actId="20577"/>
          <ac:spMkLst>
            <pc:docMk/>
            <pc:sldMk cId="1138880385" sldId="987"/>
            <ac:spMk id="7" creationId="{9BB91087-2CBD-4598-BE8C-EC616EFEC33F}"/>
          </ac:spMkLst>
        </pc:spChg>
        <pc:spChg chg="add mod">
          <ac:chgData name="Yijun" userId="6b140692-16f7-4f54-a783-028f16aab7b0" providerId="ADAL" clId="{0DB6C373-213C-43F5-9A30-7F7050891F52}" dt="2022-02-18T19:03:23.668" v="172"/>
          <ac:spMkLst>
            <pc:docMk/>
            <pc:sldMk cId="1138880385" sldId="987"/>
            <ac:spMk id="17" creationId="{7CC9376D-4CC3-4F96-B1FB-405A8BBB5924}"/>
          </ac:spMkLst>
        </pc:spChg>
        <pc:graphicFrameChg chg="mod modGraphic">
          <ac:chgData name="Yijun" userId="6b140692-16f7-4f54-a783-028f16aab7b0" providerId="ADAL" clId="{0DB6C373-213C-43F5-9A30-7F7050891F52}" dt="2022-02-18T18:57:03.574" v="170" actId="20577"/>
          <ac:graphicFrameMkLst>
            <pc:docMk/>
            <pc:sldMk cId="1138880385" sldId="987"/>
            <ac:graphicFrameMk id="8" creationId="{93609571-485A-4FC3-B430-97A6A632952C}"/>
          </ac:graphicFrameMkLst>
        </pc:graphicFrameChg>
        <pc:graphicFrameChg chg="mod modGraphic">
          <ac:chgData name="Yijun" userId="6b140692-16f7-4f54-a783-028f16aab7b0" providerId="ADAL" clId="{0DB6C373-213C-43F5-9A30-7F7050891F52}" dt="2022-02-18T15:30:04.407" v="6" actId="1076"/>
          <ac:graphicFrameMkLst>
            <pc:docMk/>
            <pc:sldMk cId="1138880385" sldId="987"/>
            <ac:graphicFrameMk id="14" creationId="{A7FC7107-238E-46B4-A7EF-A841A6EB8CE8}"/>
          </ac:graphicFrameMkLst>
        </pc:graphicFrameChg>
        <pc:picChg chg="mod">
          <ac:chgData name="Yijun" userId="6b140692-16f7-4f54-a783-028f16aab7b0" providerId="ADAL" clId="{0DB6C373-213C-43F5-9A30-7F7050891F52}" dt="2022-02-18T17:39:25.316" v="62" actId="14100"/>
          <ac:picMkLst>
            <pc:docMk/>
            <pc:sldMk cId="1138880385" sldId="987"/>
            <ac:picMk id="3" creationId="{F1F8113A-6995-4B54-BD9B-15323CD44122}"/>
          </ac:picMkLst>
        </pc:picChg>
      </pc:sldChg>
      <pc:sldChg chg="addSp modSp mod">
        <pc:chgData name="Yijun" userId="6b140692-16f7-4f54-a783-028f16aab7b0" providerId="ADAL" clId="{0DB6C373-213C-43F5-9A30-7F7050891F52}" dt="2022-02-18T17:16:06.480" v="60" actId="20577"/>
        <pc:sldMkLst>
          <pc:docMk/>
          <pc:sldMk cId="855946971" sldId="988"/>
        </pc:sldMkLst>
        <pc:graphicFrameChg chg="add mod modGraphic">
          <ac:chgData name="Yijun" userId="6b140692-16f7-4f54-a783-028f16aab7b0" providerId="ADAL" clId="{0DB6C373-213C-43F5-9A30-7F7050891F52}" dt="2022-02-18T17:16:06.480" v="60" actId="20577"/>
          <ac:graphicFrameMkLst>
            <pc:docMk/>
            <pc:sldMk cId="855946971" sldId="988"/>
            <ac:graphicFrameMk id="3" creationId="{FFABC0B8-21F2-4D68-9821-88349806892E}"/>
          </ac:graphicFrameMkLst>
        </pc:graphicFrameChg>
      </pc:sldChg>
      <pc:sldChg chg="addSp delSp modSp mod">
        <pc:chgData name="Yijun" userId="6b140692-16f7-4f54-a783-028f16aab7b0" providerId="ADAL" clId="{0DB6C373-213C-43F5-9A30-7F7050891F52}" dt="2022-02-18T19:54:04.803" v="1009" actId="14100"/>
        <pc:sldMkLst>
          <pc:docMk/>
          <pc:sldMk cId="3752088036" sldId="989"/>
        </pc:sldMkLst>
        <pc:spChg chg="add mod">
          <ac:chgData name="Yijun" userId="6b140692-16f7-4f54-a783-028f16aab7b0" providerId="ADAL" clId="{0DB6C373-213C-43F5-9A30-7F7050891F52}" dt="2022-02-18T19:54:04.803" v="1009" actId="14100"/>
          <ac:spMkLst>
            <pc:docMk/>
            <pc:sldMk cId="3752088036" sldId="989"/>
            <ac:spMk id="8" creationId="{41954993-B177-4D27-A163-2FB9F1015DBC}"/>
          </ac:spMkLst>
        </pc:spChg>
        <pc:spChg chg="del">
          <ac:chgData name="Yijun" userId="6b140692-16f7-4f54-a783-028f16aab7b0" providerId="ADAL" clId="{0DB6C373-213C-43F5-9A30-7F7050891F52}" dt="2022-02-18T19:48:17.916" v="824" actId="478"/>
          <ac:spMkLst>
            <pc:docMk/>
            <pc:sldMk cId="3752088036" sldId="989"/>
            <ac:spMk id="11" creationId="{5A6B0306-A34C-4039-93EF-4BA5B918AA3D}"/>
          </ac:spMkLst>
        </pc:spChg>
        <pc:picChg chg="add mod ord">
          <ac:chgData name="Yijun" userId="6b140692-16f7-4f54-a783-028f16aab7b0" providerId="ADAL" clId="{0DB6C373-213C-43F5-9A30-7F7050891F52}" dt="2022-02-18T19:48:16.902" v="823" actId="167"/>
          <ac:picMkLst>
            <pc:docMk/>
            <pc:sldMk cId="3752088036" sldId="989"/>
            <ac:picMk id="47" creationId="{F28B1B94-7D6B-47A6-9B65-EB1CC380EB76}"/>
          </ac:picMkLst>
        </pc:picChg>
      </pc:sldChg>
      <pc:sldChg chg="addSp delSp modSp add del mod ord">
        <pc:chgData name="Yijun" userId="6b140692-16f7-4f54-a783-028f16aab7b0" providerId="ADAL" clId="{0DB6C373-213C-43F5-9A30-7F7050891F52}" dt="2022-02-18T19:47:54.917" v="818" actId="47"/>
        <pc:sldMkLst>
          <pc:docMk/>
          <pc:sldMk cId="1550725305" sldId="990"/>
        </pc:sldMkLst>
        <pc:spChg chg="mod">
          <ac:chgData name="Yijun" userId="6b140692-16f7-4f54-a783-028f16aab7b0" providerId="ADAL" clId="{0DB6C373-213C-43F5-9A30-7F7050891F52}" dt="2022-02-18T16:43:38.151" v="47" actId="20577"/>
          <ac:spMkLst>
            <pc:docMk/>
            <pc:sldMk cId="1550725305" sldId="990"/>
            <ac:spMk id="7" creationId="{9BB91087-2CBD-4598-BE8C-EC616EFEC33F}"/>
          </ac:spMkLst>
        </pc:spChg>
        <pc:graphicFrameChg chg="del">
          <ac:chgData name="Yijun" userId="6b140692-16f7-4f54-a783-028f16aab7b0" providerId="ADAL" clId="{0DB6C373-213C-43F5-9A30-7F7050891F52}" dt="2022-02-18T16:43:40.440" v="48" actId="478"/>
          <ac:graphicFrameMkLst>
            <pc:docMk/>
            <pc:sldMk cId="1550725305" sldId="990"/>
            <ac:graphicFrameMk id="11" creationId="{9266ABEB-CC92-49E4-930A-AEA2F7BE17F4}"/>
          </ac:graphicFrameMkLst>
        </pc:graphicFrameChg>
        <pc:picChg chg="del">
          <ac:chgData name="Yijun" userId="6b140692-16f7-4f54-a783-028f16aab7b0" providerId="ADAL" clId="{0DB6C373-213C-43F5-9A30-7F7050891F52}" dt="2022-02-18T17:13:00.575" v="49" actId="478"/>
          <ac:picMkLst>
            <pc:docMk/>
            <pc:sldMk cId="1550725305" sldId="990"/>
            <ac:picMk id="3" creationId="{CC0CD36D-F360-449D-982D-AFEED579A3B7}"/>
          </ac:picMkLst>
        </pc:picChg>
        <pc:picChg chg="add del mod">
          <ac:chgData name="Yijun" userId="6b140692-16f7-4f54-a783-028f16aab7b0" providerId="ADAL" clId="{0DB6C373-213C-43F5-9A30-7F7050891F52}" dt="2022-02-18T17:13:16.237" v="51" actId="478"/>
          <ac:picMkLst>
            <pc:docMk/>
            <pc:sldMk cId="1550725305" sldId="990"/>
            <ac:picMk id="4" creationId="{98BD2F24-8BDA-47BE-998B-CDD7BDCCA8CC}"/>
          </ac:picMkLst>
        </pc:picChg>
        <pc:picChg chg="add del mod">
          <ac:chgData name="Yijun" userId="6b140692-16f7-4f54-a783-028f16aab7b0" providerId="ADAL" clId="{0DB6C373-213C-43F5-9A30-7F7050891F52}" dt="2022-02-18T17:14:21.375" v="57" actId="478"/>
          <ac:picMkLst>
            <pc:docMk/>
            <pc:sldMk cId="1550725305" sldId="990"/>
            <ac:picMk id="8" creationId="{2415C073-52F8-4476-BCE4-3E68D128A3D9}"/>
          </ac:picMkLst>
        </pc:picChg>
        <pc:picChg chg="add mod">
          <ac:chgData name="Yijun" userId="6b140692-16f7-4f54-a783-028f16aab7b0" providerId="ADAL" clId="{0DB6C373-213C-43F5-9A30-7F7050891F52}" dt="2022-02-18T17:14:25.609" v="59" actId="27614"/>
          <ac:picMkLst>
            <pc:docMk/>
            <pc:sldMk cId="1550725305" sldId="990"/>
            <ac:picMk id="12" creationId="{860DE0CB-CBCF-4443-A971-DE1887C2C114}"/>
          </ac:picMkLst>
        </pc:picChg>
      </pc:sldChg>
      <pc:sldChg chg="add del">
        <pc:chgData name="Yijun" userId="6b140692-16f7-4f54-a783-028f16aab7b0" providerId="ADAL" clId="{0DB6C373-213C-43F5-9A30-7F7050891F52}" dt="2022-02-18T19:07:43.713" v="186" actId="47"/>
        <pc:sldMkLst>
          <pc:docMk/>
          <pc:sldMk cId="197637495" sldId="991"/>
        </pc:sldMkLst>
      </pc:sldChg>
      <pc:sldChg chg="addSp delSp modSp mod">
        <pc:chgData name="Yijun" userId="6b140692-16f7-4f54-a783-028f16aab7b0" providerId="ADAL" clId="{0DB6C373-213C-43F5-9A30-7F7050891F52}" dt="2022-02-18T20:13:22.940" v="1543" actId="14100"/>
        <pc:sldMkLst>
          <pc:docMk/>
          <pc:sldMk cId="1014023168" sldId="991"/>
        </pc:sldMkLst>
        <pc:graphicFrameChg chg="add del mod">
          <ac:chgData name="Yijun" userId="6b140692-16f7-4f54-a783-028f16aab7b0" providerId="ADAL" clId="{0DB6C373-213C-43F5-9A30-7F7050891F52}" dt="2022-02-18T20:12:07.247" v="1521"/>
          <ac:graphicFrameMkLst>
            <pc:docMk/>
            <pc:sldMk cId="1014023168" sldId="991"/>
            <ac:graphicFrameMk id="14" creationId="{3D66169F-1CC9-46E1-8550-E74E2B58F0F4}"/>
          </ac:graphicFrameMkLst>
        </pc:graphicFrameChg>
        <pc:graphicFrameChg chg="add mod modGraphic">
          <ac:chgData name="Yijun" userId="6b140692-16f7-4f54-a783-028f16aab7b0" providerId="ADAL" clId="{0DB6C373-213C-43F5-9A30-7F7050891F52}" dt="2022-02-18T20:13:22.940" v="1543" actId="14100"/>
          <ac:graphicFrameMkLst>
            <pc:docMk/>
            <pc:sldMk cId="1014023168" sldId="991"/>
            <ac:graphicFrameMk id="15" creationId="{58B286A4-186F-4E3D-A522-89AECB11120A}"/>
          </ac:graphicFrameMkLst>
        </pc:graphicFrameChg>
      </pc:sldChg>
    </pc:docChg>
  </pc:docChgLst>
  <pc:docChgLst>
    <pc:chgData name="Yijun Ma (DCP)" userId="S::yma2@planning.nyc.gov::6b140692-16f7-4f54-a783-028f16aab7b0" providerId="AD" clId="Web-{02B81627-29FF-5789-8017-5E0A19F32AFD}"/>
    <pc:docChg chg="modSld">
      <pc:chgData name="Yijun Ma (DCP)" userId="S::yma2@planning.nyc.gov::6b140692-16f7-4f54-a783-028f16aab7b0" providerId="AD" clId="Web-{02B81627-29FF-5789-8017-5E0A19F32AFD}" dt="2022-02-16T18:10:16.367" v="1"/>
      <pc:docMkLst>
        <pc:docMk/>
      </pc:docMkLst>
      <pc:sldChg chg="addSp delSp modSp">
        <pc:chgData name="Yijun Ma (DCP)" userId="S::yma2@planning.nyc.gov::6b140692-16f7-4f54-a783-028f16aab7b0" providerId="AD" clId="Web-{02B81627-29FF-5789-8017-5E0A19F32AFD}" dt="2022-02-16T18:10:16.367" v="1"/>
        <pc:sldMkLst>
          <pc:docMk/>
          <pc:sldMk cId="3492499758" sldId="958"/>
        </pc:sldMkLst>
        <pc:picChg chg="add del mod">
          <ac:chgData name="Yijun Ma (DCP)" userId="S::yma2@planning.nyc.gov::6b140692-16f7-4f54-a783-028f16aab7b0" providerId="AD" clId="Web-{02B81627-29FF-5789-8017-5E0A19F32AFD}" dt="2022-02-16T18:10:16.367" v="1"/>
          <ac:picMkLst>
            <pc:docMk/>
            <pc:sldMk cId="3492499758" sldId="958"/>
            <ac:picMk id="2" creationId="{B6B40280-737E-4467-8B1C-411290F590F7}"/>
          </ac:picMkLst>
        </pc:picChg>
      </pc:sldChg>
    </pc:docChg>
  </pc:docChgLst>
  <pc:docChgLst>
    <pc:chgData name="Yijun Ma (DCP)" userId="6b140692-16f7-4f54-a783-028f16aab7b0" providerId="ADAL" clId="{0057BA98-F6EE-4837-B522-7F97F2D4D691}"/>
    <pc:docChg chg="custSel delSld modSld">
      <pc:chgData name="Yijun Ma (DCP)" userId="6b140692-16f7-4f54-a783-028f16aab7b0" providerId="ADAL" clId="{0057BA98-F6EE-4837-B522-7F97F2D4D691}" dt="2022-02-17T19:41:16.146" v="43" actId="20577"/>
      <pc:docMkLst>
        <pc:docMk/>
      </pc:docMkLst>
      <pc:sldChg chg="modSp mod">
        <pc:chgData name="Yijun Ma (DCP)" userId="6b140692-16f7-4f54-a783-028f16aab7b0" providerId="ADAL" clId="{0057BA98-F6EE-4837-B522-7F97F2D4D691}" dt="2022-02-17T19:41:16.146" v="43" actId="20577"/>
        <pc:sldMkLst>
          <pc:docMk/>
          <pc:sldMk cId="3857730028" sldId="986"/>
        </pc:sldMkLst>
        <pc:graphicFrameChg chg="mod modGraphic">
          <ac:chgData name="Yijun Ma (DCP)" userId="6b140692-16f7-4f54-a783-028f16aab7b0" providerId="ADAL" clId="{0057BA98-F6EE-4837-B522-7F97F2D4D691}" dt="2022-02-17T19:41:16.146" v="43" actId="20577"/>
          <ac:graphicFrameMkLst>
            <pc:docMk/>
            <pc:sldMk cId="3857730028" sldId="986"/>
            <ac:graphicFrameMk id="7" creationId="{77BFB513-D281-4069-A2E3-02AB18B3A439}"/>
          </ac:graphicFrameMkLst>
        </pc:graphicFrameChg>
      </pc:sldChg>
      <pc:sldChg chg="del">
        <pc:chgData name="Yijun Ma (DCP)" userId="6b140692-16f7-4f54-a783-028f16aab7b0" providerId="ADAL" clId="{0057BA98-F6EE-4837-B522-7F97F2D4D691}" dt="2022-02-17T18:27:32.707" v="1" actId="47"/>
        <pc:sldMkLst>
          <pc:docMk/>
          <pc:sldMk cId="2815112099" sldId="987"/>
        </pc:sldMkLst>
      </pc:sldChg>
    </pc:docChg>
  </pc:docChgLst>
  <pc:docChgLst>
    <pc:chgData name="Laura Smith (DCP)" userId="S::lsmith@planning.nyc.gov::04d996ad-c8c0-4279-84c0-115ebcf63bba" providerId="AD" clId="Web-{0439A0DD-C0B0-C793-1ED7-8AB5285E2A67}"/>
    <pc:docChg chg="modSld">
      <pc:chgData name="Laura Smith (DCP)" userId="S::lsmith@planning.nyc.gov::04d996ad-c8c0-4279-84c0-115ebcf63bba" providerId="AD" clId="Web-{0439A0DD-C0B0-C793-1ED7-8AB5285E2A67}" dt="2022-02-18T14:31:38.819" v="0"/>
      <pc:docMkLst>
        <pc:docMk/>
      </pc:docMkLst>
      <pc:sldChg chg="addSp">
        <pc:chgData name="Laura Smith (DCP)" userId="S::lsmith@planning.nyc.gov::04d996ad-c8c0-4279-84c0-115ebcf63bba" providerId="AD" clId="Web-{0439A0DD-C0B0-C793-1ED7-8AB5285E2A67}" dt="2022-02-18T14:31:38.819" v="0"/>
        <pc:sldMkLst>
          <pc:docMk/>
          <pc:sldMk cId="2829190684" sldId="985"/>
        </pc:sldMkLst>
        <pc:graphicFrameChg chg="add">
          <ac:chgData name="Laura Smith (DCP)" userId="S::lsmith@planning.nyc.gov::04d996ad-c8c0-4279-84c0-115ebcf63bba" providerId="AD" clId="Web-{0439A0DD-C0B0-C793-1ED7-8AB5285E2A67}" dt="2022-02-18T14:31:38.819" v="0"/>
          <ac:graphicFrameMkLst>
            <pc:docMk/>
            <pc:sldMk cId="2829190684" sldId="985"/>
            <ac:graphicFrameMk id="5" creationId="{3B93865A-9791-4D73-87B2-A337775408D5}"/>
          </ac:graphicFrameMkLst>
        </pc:graphicFrameChg>
      </pc:sldChg>
    </pc:docChg>
  </pc:docChgLst>
  <pc:docChgLst>
    <pc:chgData name="Laura Smith (DCP)" userId="04d996ad-c8c0-4279-84c0-115ebcf63bba" providerId="ADAL" clId="{BB22D559-51B0-4ACE-88A8-F46ED99F7B25}"/>
    <pc:docChg chg="undo custSel addSld delSld modSld sldOrd">
      <pc:chgData name="Laura Smith (DCP)" userId="04d996ad-c8c0-4279-84c0-115ebcf63bba" providerId="ADAL" clId="{BB22D559-51B0-4ACE-88A8-F46ED99F7B25}" dt="2022-02-18T21:23:49.151" v="3335" actId="20577"/>
      <pc:docMkLst>
        <pc:docMk/>
      </pc:docMkLst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4731849" sldId="961"/>
        </pc:sldMkLst>
        <pc:picChg chg="mod modCrop">
          <ac:chgData name="Laura Smith (DCP)" userId="04d996ad-c8c0-4279-84c0-115ebcf63bba" providerId="ADAL" clId="{BB22D559-51B0-4ACE-88A8-F46ED99F7B25}" dt="2022-02-17T17:59:36.281" v="2" actId="732"/>
          <ac:picMkLst>
            <pc:docMk/>
            <pc:sldMk cId="34731849" sldId="961"/>
            <ac:picMk id="18" creationId="{CD42B7DA-2DCC-4AA4-A75D-C2C2744BC7E1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2048314846" sldId="962"/>
        </pc:sldMkLst>
        <pc:picChg chg="mod modCrop">
          <ac:chgData name="Laura Smith (DCP)" userId="04d996ad-c8c0-4279-84c0-115ebcf63bba" providerId="ADAL" clId="{BB22D559-51B0-4ACE-88A8-F46ED99F7B25}" dt="2022-02-17T17:59:26.576" v="1" actId="732"/>
          <ac:picMkLst>
            <pc:docMk/>
            <pc:sldMk cId="2048314846" sldId="962"/>
            <ac:picMk id="8" creationId="{1FC5AFFF-B318-40EB-9B49-DB7ACC42610E}"/>
          </ac:picMkLst>
        </pc:picChg>
      </pc:sldChg>
      <pc:sldChg chg="modSp del mod modShow">
        <pc:chgData name="Laura Smith (DCP)" userId="04d996ad-c8c0-4279-84c0-115ebcf63bba" providerId="ADAL" clId="{BB22D559-51B0-4ACE-88A8-F46ED99F7B25}" dt="2022-02-18T20:36:28.932" v="1235" actId="47"/>
        <pc:sldMkLst>
          <pc:docMk/>
          <pc:sldMk cId="33273292" sldId="974"/>
        </pc:sldMkLst>
        <pc:picChg chg="mod modCrop">
          <ac:chgData name="Laura Smith (DCP)" userId="04d996ad-c8c0-4279-84c0-115ebcf63bba" providerId="ADAL" clId="{BB22D559-51B0-4ACE-88A8-F46ED99F7B25}" dt="2022-02-17T17:59:52.560" v="3" actId="732"/>
          <ac:picMkLst>
            <pc:docMk/>
            <pc:sldMk cId="33273292" sldId="974"/>
            <ac:picMk id="5" creationId="{2C4AA185-2249-48A8-8C94-EB9E4A31FD98}"/>
          </ac:picMkLst>
        </pc:picChg>
      </pc:sldChg>
      <pc:sldChg chg="addSp delSp modSp new mod ord">
        <pc:chgData name="Laura Smith (DCP)" userId="04d996ad-c8c0-4279-84c0-115ebcf63bba" providerId="ADAL" clId="{BB22D559-51B0-4ACE-88A8-F46ED99F7B25}" dt="2022-02-18T21:23:21.665" v="3299"/>
        <pc:sldMkLst>
          <pc:docMk/>
          <pc:sldMk cId="2829190684" sldId="985"/>
        </pc:sldMkLst>
        <pc:spChg chg="mod">
          <ac:chgData name="Laura Smith (DCP)" userId="04d996ad-c8c0-4279-84c0-115ebcf63bba" providerId="ADAL" clId="{BB22D559-51B0-4ACE-88A8-F46ED99F7B25}" dt="2022-02-18T14:44:24.020" v="273" actId="20577"/>
          <ac:spMkLst>
            <pc:docMk/>
            <pc:sldMk cId="2829190684" sldId="985"/>
            <ac:spMk id="2" creationId="{0E52CA3D-093B-403F-A2A2-A8E82856AF0E}"/>
          </ac:spMkLst>
        </pc:spChg>
        <pc:spChg chg="del">
          <ac:chgData name="Laura Smith (DCP)" userId="04d996ad-c8c0-4279-84c0-115ebcf63bba" providerId="ADAL" clId="{BB22D559-51B0-4ACE-88A8-F46ED99F7B25}" dt="2022-02-18T14:47:44.451" v="908" actId="478"/>
          <ac:spMkLst>
            <pc:docMk/>
            <pc:sldMk cId="2829190684" sldId="985"/>
            <ac:spMk id="3" creationId="{7C383E09-13F4-4530-A387-B30EE1EEDF6B}"/>
          </ac:spMkLst>
        </pc:spChg>
        <pc:spChg chg="del">
          <ac:chgData name="Laura Smith (DCP)" userId="04d996ad-c8c0-4279-84c0-115ebcf63bba" providerId="ADAL" clId="{BB22D559-51B0-4ACE-88A8-F46ED99F7B25}" dt="2022-02-17T18:00:32.602" v="12" actId="478"/>
          <ac:spMkLst>
            <pc:docMk/>
            <pc:sldMk cId="2829190684" sldId="985"/>
            <ac:spMk id="5" creationId="{927C08B0-CBF9-4F43-8F25-5BB00266CC9D}"/>
          </ac:spMkLst>
        </pc:spChg>
        <pc:spChg chg="add del mod">
          <ac:chgData name="Laura Smith (DCP)" userId="04d996ad-c8c0-4279-84c0-115ebcf63bba" providerId="ADAL" clId="{BB22D559-51B0-4ACE-88A8-F46ED99F7B25}" dt="2022-02-18T14:32:17.429" v="196" actId="478"/>
          <ac:spMkLst>
            <pc:docMk/>
            <pc:sldMk cId="2829190684" sldId="985"/>
            <ac:spMk id="10" creationId="{BEC9787A-4B7A-4ECD-8A07-43EC87543956}"/>
          </ac:spMkLst>
        </pc:spChg>
        <pc:spChg chg="add mod">
          <ac:chgData name="Laura Smith (DCP)" userId="04d996ad-c8c0-4279-84c0-115ebcf63bba" providerId="ADAL" clId="{BB22D559-51B0-4ACE-88A8-F46ED99F7B25}" dt="2022-02-18T14:55:51.515" v="1230" actId="1076"/>
          <ac:spMkLst>
            <pc:docMk/>
            <pc:sldMk cId="2829190684" sldId="985"/>
            <ac:spMk id="17" creationId="{D29923AB-51A3-4638-99C8-4BB5A3073B1E}"/>
          </ac:spMkLst>
        </pc:s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4" creationId="{0B1F1D17-F9FF-4D71-91BD-4E2D3106A324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5" creationId="{BB4A4891-A86F-4E24-8AD3-DC6EBE4821FB}"/>
          </ac:grpSpMkLst>
        </pc:grpChg>
        <pc:grpChg chg="add mod">
          <ac:chgData name="Laura Smith (DCP)" userId="04d996ad-c8c0-4279-84c0-115ebcf63bba" providerId="ADAL" clId="{BB22D559-51B0-4ACE-88A8-F46ED99F7B25}" dt="2022-02-18T14:55:44.067" v="1228" actId="1038"/>
          <ac:grpSpMkLst>
            <pc:docMk/>
            <pc:sldMk cId="2829190684" sldId="985"/>
            <ac:grpSpMk id="16" creationId="{F1542DC3-19C0-40B1-AFDB-464FDD8E7FE1}"/>
          </ac:grpSpMkLst>
        </pc:grpChg>
        <pc:graphicFrameChg chg="mod modGraphic">
          <ac:chgData name="Laura Smith (DCP)" userId="04d996ad-c8c0-4279-84c0-115ebcf63bba" providerId="ADAL" clId="{BB22D559-51B0-4ACE-88A8-F46ED99F7B25}" dt="2022-02-18T20:36:13.928" v="1234" actId="113"/>
          <ac:graphicFrameMkLst>
            <pc:docMk/>
            <pc:sldMk cId="2829190684" sldId="985"/>
            <ac:graphicFrameMk id="5" creationId="{3B93865A-9791-4D73-87B2-A337775408D5}"/>
          </ac:graphicFrameMkLst>
        </pc:graphicFrame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7" creationId="{330E6964-F348-47A7-86CF-B261E0278367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8" creationId="{386C0F2A-3453-4CCC-AE55-4E330498DAD3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9" creationId="{C7B0AAC3-F58D-4E97-A980-EB5D716D76A1}"/>
          </ac:picMkLst>
        </pc:picChg>
        <pc:picChg chg="add mod modCrop">
          <ac:chgData name="Laura Smith (DCP)" userId="04d996ad-c8c0-4279-84c0-115ebcf63bba" providerId="ADAL" clId="{BB22D559-51B0-4ACE-88A8-F46ED99F7B25}" dt="2022-02-17T18:04:56.646" v="165" actId="164"/>
          <ac:picMkLst>
            <pc:docMk/>
            <pc:sldMk cId="2829190684" sldId="985"/>
            <ac:picMk id="11" creationId="{9A77849E-7D0B-411E-A35E-329AF8DBC604}"/>
          </ac:picMkLst>
        </pc:picChg>
        <pc:picChg chg="add mod modCrop">
          <ac:chgData name="Laura Smith (DCP)" userId="04d996ad-c8c0-4279-84c0-115ebcf63bba" providerId="ADAL" clId="{BB22D559-51B0-4ACE-88A8-F46ED99F7B25}" dt="2022-02-17T18:04:59.710" v="166" actId="164"/>
          <ac:picMkLst>
            <pc:docMk/>
            <pc:sldMk cId="2829190684" sldId="985"/>
            <ac:picMk id="12" creationId="{C150CB1A-02EC-4D37-BF41-B3683EFD90BE}"/>
          </ac:picMkLst>
        </pc:picChg>
        <pc:picChg chg="add mod modCrop">
          <ac:chgData name="Laura Smith (DCP)" userId="04d996ad-c8c0-4279-84c0-115ebcf63bba" providerId="ADAL" clId="{BB22D559-51B0-4ACE-88A8-F46ED99F7B25}" dt="2022-02-17T18:05:02.856" v="167" actId="164"/>
          <ac:picMkLst>
            <pc:docMk/>
            <pc:sldMk cId="2829190684" sldId="985"/>
            <ac:picMk id="13" creationId="{FC2B2C17-2DF9-4C94-AE3A-9763AF381EE0}"/>
          </ac:picMkLst>
        </pc:picChg>
      </pc:sldChg>
      <pc:sldChg chg="addSp delSp modSp mod ord modShow">
        <pc:chgData name="Laura Smith (DCP)" userId="04d996ad-c8c0-4279-84c0-115ebcf63bba" providerId="ADAL" clId="{BB22D559-51B0-4ACE-88A8-F46ED99F7B25}" dt="2022-02-18T21:23:49.151" v="3335" actId="20577"/>
        <pc:sldMkLst>
          <pc:docMk/>
          <pc:sldMk cId="3857730028" sldId="986"/>
        </pc:sldMkLst>
        <pc:spChg chg="mod">
          <ac:chgData name="Laura Smith (DCP)" userId="04d996ad-c8c0-4279-84c0-115ebcf63bba" providerId="ADAL" clId="{BB22D559-51B0-4ACE-88A8-F46ED99F7B25}" dt="2022-02-18T20:47:20.651" v="1299" actId="20577"/>
          <ac:spMkLst>
            <pc:docMk/>
            <pc:sldMk cId="3857730028" sldId="986"/>
            <ac:spMk id="2" creationId="{9DA80A76-881A-4358-8B85-484D2C682283}"/>
          </ac:spMkLst>
        </pc:spChg>
        <pc:spChg chg="add del mod">
          <ac:chgData name="Laura Smith (DCP)" userId="04d996ad-c8c0-4279-84c0-115ebcf63bba" providerId="ADAL" clId="{BB22D559-51B0-4ACE-88A8-F46ED99F7B25}" dt="2022-02-18T21:01:39.296" v="1443" actId="478"/>
          <ac:spMkLst>
            <pc:docMk/>
            <pc:sldMk cId="3857730028" sldId="986"/>
            <ac:spMk id="5" creationId="{4FC95570-7777-4A23-8C29-D8950213BCA3}"/>
          </ac:spMkLst>
        </pc:spChg>
        <pc:spChg chg="add mod">
          <ac:chgData name="Laura Smith (DCP)" userId="04d996ad-c8c0-4279-84c0-115ebcf63bba" providerId="ADAL" clId="{BB22D559-51B0-4ACE-88A8-F46ED99F7B25}" dt="2022-02-18T21:23:49.151" v="3335" actId="20577"/>
          <ac:spMkLst>
            <pc:docMk/>
            <pc:sldMk cId="3857730028" sldId="986"/>
            <ac:spMk id="15" creationId="{0D120AF8-871D-41A7-8C92-9B5E537869E0}"/>
          </ac:spMkLst>
        </pc:spChg>
        <pc:graphicFrameChg chg="del">
          <ac:chgData name="Laura Smith (DCP)" userId="04d996ad-c8c0-4279-84c0-115ebcf63bba" providerId="ADAL" clId="{BB22D559-51B0-4ACE-88A8-F46ED99F7B25}" dt="2022-02-18T20:36:32.183" v="1236" actId="478"/>
          <ac:graphicFrameMkLst>
            <pc:docMk/>
            <pc:sldMk cId="3857730028" sldId="986"/>
            <ac:graphicFrameMk id="7" creationId="{77BFB513-D281-4069-A2E3-02AB18B3A439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8" creationId="{33AF7BD6-CDCB-44D5-B0C7-3706FC13C0D1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9" creationId="{428C5C85-91EC-42B7-A296-E0909EF1FFD0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16.258" v="1433" actId="478"/>
          <ac:graphicFrameMkLst>
            <pc:docMk/>
            <pc:sldMk cId="3857730028" sldId="986"/>
            <ac:graphicFrameMk id="10" creationId="{BC7CFFF3-119F-409E-BE70-2C830E54E29F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0:20.842" v="1435"/>
          <ac:graphicFrameMkLst>
            <pc:docMk/>
            <pc:sldMk cId="3857730028" sldId="986"/>
            <ac:graphicFrameMk id="11" creationId="{00992608-B4C5-4A71-A452-C9C6F79A7C14}"/>
          </ac:graphicFrameMkLst>
        </pc:graphicFrameChg>
        <pc:graphicFrameChg chg="add del mod">
          <ac:chgData name="Laura Smith (DCP)" userId="04d996ad-c8c0-4279-84c0-115ebcf63bba" providerId="ADAL" clId="{BB22D559-51B0-4ACE-88A8-F46ED99F7B25}" dt="2022-02-18T21:01:25.040" v="1439"/>
          <ac:graphicFrameMkLst>
            <pc:docMk/>
            <pc:sldMk cId="3857730028" sldId="986"/>
            <ac:graphicFrameMk id="12" creationId="{C6A6692E-839C-40D7-A951-F002134C43C3}"/>
          </ac:graphicFrameMkLst>
        </pc:graphicFrameChg>
        <pc:graphicFrameChg chg="add mod modGraphic">
          <ac:chgData name="Laura Smith (DCP)" userId="04d996ad-c8c0-4279-84c0-115ebcf63bba" providerId="ADAL" clId="{BB22D559-51B0-4ACE-88A8-F46ED99F7B25}" dt="2022-02-18T21:06:14.585" v="1593" actId="14734"/>
          <ac:graphicFrameMkLst>
            <pc:docMk/>
            <pc:sldMk cId="3857730028" sldId="986"/>
            <ac:graphicFrameMk id="13" creationId="{0BB4AC0E-D12D-470A-BC0D-17B655923A91}"/>
          </ac:graphicFrameMkLst>
        </pc:graphicFrameChg>
      </pc:sldChg>
      <pc:sldChg chg="delSp modSp mod">
        <pc:chgData name="Laura Smith (DCP)" userId="04d996ad-c8c0-4279-84c0-115ebcf63bba" providerId="ADAL" clId="{BB22D559-51B0-4ACE-88A8-F46ED99F7B25}" dt="2022-02-18T15:43:30.584" v="1233" actId="478"/>
        <pc:sldMkLst>
          <pc:docMk/>
          <pc:sldMk cId="1138880385" sldId="987"/>
        </pc:sldMkLst>
        <pc:graphicFrameChg chg="del modGraphic">
          <ac:chgData name="Laura Smith (DCP)" userId="04d996ad-c8c0-4279-84c0-115ebcf63bba" providerId="ADAL" clId="{BB22D559-51B0-4ACE-88A8-F46ED99F7B25}" dt="2022-02-18T15:43:30.584" v="1233" actId="478"/>
          <ac:graphicFrameMkLst>
            <pc:docMk/>
            <pc:sldMk cId="1138880385" sldId="987"/>
            <ac:graphicFrameMk id="14" creationId="{A7FC7107-238E-46B4-A7EF-A841A6EB8CE8}"/>
          </ac:graphicFrameMkLst>
        </pc:graphicFrameChg>
      </pc:sldChg>
      <pc:sldChg chg="del">
        <pc:chgData name="Laura Smith (DCP)" userId="04d996ad-c8c0-4279-84c0-115ebcf63bba" providerId="ADAL" clId="{BB22D559-51B0-4ACE-88A8-F46ED99F7B25}" dt="2022-02-18T21:23:14.570" v="3295" actId="47"/>
        <pc:sldMkLst>
          <pc:docMk/>
          <pc:sldMk cId="1014023168" sldId="991"/>
        </pc:sldMkLst>
      </pc:sldChg>
    </pc:docChg>
  </pc:docChgLst>
  <pc:docChgLst>
    <pc:chgData name="Maria Free (DCP)" userId="S::mfree@planning.nyc.gov::2a7f77c3-bce6-4d58-9dc6-d902d6f4c355" providerId="AD" clId="Web-{26035570-6113-1F86-9FBD-727749C0BC1B}"/>
    <pc:docChg chg="addSld modSld sldOrd">
      <pc:chgData name="Maria Free (DCP)" userId="S::mfree@planning.nyc.gov::2a7f77c3-bce6-4d58-9dc6-d902d6f4c355" providerId="AD" clId="Web-{26035570-6113-1F86-9FBD-727749C0BC1B}" dt="2022-02-18T15:01:30.806" v="8" actId="20577"/>
      <pc:docMkLst>
        <pc:docMk/>
      </pc:docMkLst>
      <pc:sldChg chg="modSp new ord">
        <pc:chgData name="Maria Free (DCP)" userId="S::mfree@planning.nyc.gov::2a7f77c3-bce6-4d58-9dc6-d902d6f4c355" providerId="AD" clId="Web-{26035570-6113-1F86-9FBD-727749C0BC1B}" dt="2022-02-18T15:01:30.806" v="8" actId="20577"/>
        <pc:sldMkLst>
          <pc:docMk/>
          <pc:sldMk cId="3752088036" sldId="989"/>
        </pc:sldMkLst>
        <pc:spChg chg="mod">
          <ac:chgData name="Maria Free (DCP)" userId="S::mfree@planning.nyc.gov::2a7f77c3-bce6-4d58-9dc6-d902d6f4c355" providerId="AD" clId="Web-{26035570-6113-1F86-9FBD-727749C0BC1B}" dt="2022-02-18T15:01:30.806" v="8" actId="20577"/>
          <ac:spMkLst>
            <pc:docMk/>
            <pc:sldMk cId="3752088036" sldId="989"/>
            <ac:spMk id="5" creationId="{A2717FF7-4785-43D8-BE00-68E7025B184A}"/>
          </ac:spMkLst>
        </pc:spChg>
      </pc:sldChg>
    </pc:docChg>
  </pc:docChgLst>
  <pc:docChgLst>
    <pc:chgData name="Shana Sanichar (DCP)" userId="S::ssanichar@planning.nyc.gov::98f60692-0231-4d18-8efa-97b8ad03acf8" providerId="AD" clId="Web-{D3097D07-6648-3C5D-F475-7EC6D3FD88CA}"/>
    <pc:docChg chg="addSld modSld">
      <pc:chgData name="Shana Sanichar (DCP)" userId="S::ssanichar@planning.nyc.gov::98f60692-0231-4d18-8efa-97b8ad03acf8" providerId="AD" clId="Web-{D3097D07-6648-3C5D-F475-7EC6D3FD88CA}" dt="2022-02-18T19:47:26.673" v="26"/>
      <pc:docMkLst>
        <pc:docMk/>
      </pc:docMkLst>
      <pc:sldChg chg="addSp delSp modSp">
        <pc:chgData name="Shana Sanichar (DCP)" userId="S::ssanichar@planning.nyc.gov::98f60692-0231-4d18-8efa-97b8ad03acf8" providerId="AD" clId="Web-{D3097D07-6648-3C5D-F475-7EC6D3FD88CA}" dt="2022-02-18T19:16:19.311" v="20"/>
        <pc:sldMkLst>
          <pc:docMk/>
          <pc:sldMk cId="3752088036" sldId="989"/>
        </pc:sldMkLst>
        <pc:graphicFrameChg chg="add del mod modGraphic">
          <ac:chgData name="Shana Sanichar (DCP)" userId="S::ssanichar@planning.nyc.gov::98f60692-0231-4d18-8efa-97b8ad03acf8" providerId="AD" clId="Web-{D3097D07-6648-3C5D-F475-7EC6D3FD88CA}" dt="2022-02-18T17:46:19.929" v="12"/>
          <ac:graphicFrameMkLst>
            <pc:docMk/>
            <pc:sldMk cId="3752088036" sldId="989"/>
            <ac:graphicFrameMk id="7" creationId="{33A4A629-36B1-4518-8FE3-7CFC370F76E8}"/>
          </ac:graphicFrameMkLst>
        </pc:graphicFrameChg>
        <pc:graphicFrameChg chg="del">
          <ac:chgData name="Shana Sanichar (DCP)" userId="S::ssanichar@planning.nyc.gov::98f60692-0231-4d18-8efa-97b8ad03acf8" providerId="AD" clId="Web-{D3097D07-6648-3C5D-F475-7EC6D3FD88CA}" dt="2022-02-18T19:16:15.764" v="13"/>
          <ac:graphicFrameMkLst>
            <pc:docMk/>
            <pc:sldMk cId="3752088036" sldId="989"/>
            <ac:graphicFrameMk id="19" creationId="{68674B11-852A-4E76-9CC7-380B9A1251BC}"/>
          </ac:graphicFrameMkLst>
        </pc:graphicFrameChg>
        <pc:graphicFrameChg chg="del mod modGraphic">
          <ac:chgData name="Shana Sanichar (DCP)" userId="S::ssanichar@planning.nyc.gov::98f60692-0231-4d18-8efa-97b8ad03acf8" providerId="AD" clId="Web-{D3097D07-6648-3C5D-F475-7EC6D3FD88CA}" dt="2022-02-18T19:16:19.311" v="20"/>
          <ac:graphicFrameMkLst>
            <pc:docMk/>
            <pc:sldMk cId="3752088036" sldId="989"/>
            <ac:graphicFrameMk id="23" creationId="{952A96DE-C8AB-4162-B635-B1742BE74D59}"/>
          </ac:graphicFrameMkLst>
        </pc:graphicFrameChg>
        <pc:picChg chg="del">
          <ac:chgData name="Shana Sanichar (DCP)" userId="S::ssanichar@planning.nyc.gov::98f60692-0231-4d18-8efa-97b8ad03acf8" providerId="AD" clId="Web-{D3097D07-6648-3C5D-F475-7EC6D3FD88CA}" dt="2022-02-18T19:16:16.530" v="17"/>
          <ac:picMkLst>
            <pc:docMk/>
            <pc:sldMk cId="3752088036" sldId="989"/>
            <ac:picMk id="10" creationId="{FC0A5A92-AA57-45A5-BC63-9A0EE4A9E191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358" v="16"/>
          <ac:picMkLst>
            <pc:docMk/>
            <pc:sldMk cId="3752088036" sldId="989"/>
            <ac:picMk id="24" creationId="{CFF79D21-F992-48DB-B96F-1BA724C6446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5.999" v="14"/>
          <ac:picMkLst>
            <pc:docMk/>
            <pc:sldMk cId="3752088036" sldId="989"/>
            <ac:picMk id="26" creationId="{0ACCFE6B-D28B-4F26-A458-1A4ED6371879}"/>
          </ac:picMkLst>
        </pc:picChg>
        <pc:picChg chg="del">
          <ac:chgData name="Shana Sanichar (DCP)" userId="S::ssanichar@planning.nyc.gov::98f60692-0231-4d18-8efa-97b8ad03acf8" providerId="AD" clId="Web-{D3097D07-6648-3C5D-F475-7EC6D3FD88CA}" dt="2022-02-18T19:16:16.014" v="15"/>
          <ac:picMkLst>
            <pc:docMk/>
            <pc:sldMk cId="3752088036" sldId="989"/>
            <ac:picMk id="28" creationId="{A147EFAF-BFF8-48EB-82E2-BBDDA2DB2302}"/>
          </ac:picMkLst>
        </pc:picChg>
      </pc:sldChg>
      <pc:sldChg chg="addSp delSp modSp new">
        <pc:chgData name="Shana Sanichar (DCP)" userId="S::ssanichar@planning.nyc.gov::98f60692-0231-4d18-8efa-97b8ad03acf8" providerId="AD" clId="Web-{D3097D07-6648-3C5D-F475-7EC6D3FD88CA}" dt="2022-02-18T19:47:26.673" v="26"/>
        <pc:sldMkLst>
          <pc:docMk/>
          <pc:sldMk cId="1014023168" sldId="991"/>
        </pc:sldMkLst>
        <pc:spChg chg="del">
          <ac:chgData name="Shana Sanichar (DCP)" userId="S::ssanichar@planning.nyc.gov::98f60692-0231-4d18-8efa-97b8ad03acf8" providerId="AD" clId="Web-{D3097D07-6648-3C5D-F475-7EC6D3FD88CA}" dt="2022-02-18T19:46:38.500" v="22"/>
          <ac:spMkLst>
            <pc:docMk/>
            <pc:sldMk cId="1014023168" sldId="991"/>
            <ac:spMk id="5" creationId="{3C6C8706-F83E-4287-8F8C-37F9D1F3BCB6}"/>
          </ac:spMkLst>
        </pc:spChg>
        <pc:graphicFrameChg chg="add del mod modGraphic">
          <ac:chgData name="Shana Sanichar (DCP)" userId="S::ssanichar@planning.nyc.gov::98f60692-0231-4d18-8efa-97b8ad03acf8" providerId="AD" clId="Web-{D3097D07-6648-3C5D-F475-7EC6D3FD88CA}" dt="2022-02-18T19:47:26.673" v="26"/>
          <ac:graphicFrameMkLst>
            <pc:docMk/>
            <pc:sldMk cId="1014023168" sldId="991"/>
            <ac:graphicFrameMk id="8" creationId="{4B171350-CDCF-484F-B707-D71BD33F812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5" y="2"/>
            <a:ext cx="2982119" cy="466435"/>
          </a:xfrm>
          <a:prstGeom prst="rect">
            <a:avLst/>
          </a:prstGeom>
        </p:spPr>
        <p:txBody>
          <a:bodyPr vert="horz" lIns="92404" tIns="46202" rIns="92404" bIns="46202" rtlCol="0"/>
          <a:lstStyle>
            <a:lvl1pPr algn="r">
              <a:defRPr sz="1100"/>
            </a:lvl1pPr>
          </a:lstStyle>
          <a:p>
            <a:fld id="{2CD973F8-7566-4122-9CC8-9685979BC576}" type="datetimeFigureOut">
              <a:rPr lang="en-US" smtClean="0"/>
              <a:t>2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5" y="8829971"/>
            <a:ext cx="2982119" cy="466434"/>
          </a:xfrm>
          <a:prstGeom prst="rect">
            <a:avLst/>
          </a:prstGeom>
        </p:spPr>
        <p:txBody>
          <a:bodyPr vert="horz" lIns="92404" tIns="46202" rIns="92404" bIns="46202" rtlCol="0" anchor="b"/>
          <a:lstStyle>
            <a:lvl1pPr algn="r">
              <a:defRPr sz="11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905" y="4"/>
            <a:ext cx="2982418" cy="465743"/>
          </a:xfrm>
          <a:prstGeom prst="rect">
            <a:avLst/>
          </a:prstGeom>
        </p:spPr>
        <p:txBody>
          <a:bodyPr vert="horz" lIns="87416" tIns="43708" rIns="87416" bIns="43708" rtlCol="0"/>
          <a:lstStyle>
            <a:lvl1pPr algn="r">
              <a:defRPr sz="1100"/>
            </a:lvl1pPr>
          </a:lstStyle>
          <a:p>
            <a:fld id="{7F1B796E-1581-404B-B98D-7A4145C81CC2}" type="datetimeFigureOut">
              <a:rPr lang="en-US" smtClean="0"/>
              <a:t>2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3713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16" tIns="43708" rIns="87416" bIns="4370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84" y="4474510"/>
            <a:ext cx="5504853" cy="3659842"/>
          </a:xfrm>
          <a:prstGeom prst="rect">
            <a:avLst/>
          </a:prstGeom>
        </p:spPr>
        <p:txBody>
          <a:bodyPr vert="horz" lIns="87416" tIns="43708" rIns="87416" bIns="437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905" y="8830659"/>
            <a:ext cx="2982418" cy="465742"/>
          </a:xfrm>
          <a:prstGeom prst="rect">
            <a:avLst/>
          </a:prstGeom>
        </p:spPr>
        <p:txBody>
          <a:bodyPr vert="horz" lIns="87416" tIns="43708" rIns="87416" bIns="43708" rtlCol="0" anchor="b"/>
          <a:lstStyle>
            <a:lvl1pPr algn="r">
              <a:defRPr sz="11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3071816"/>
            <a:ext cx="103632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5103"/>
            <a:ext cx="103632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963084" y="5098478"/>
            <a:ext cx="103632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037D15-49B3-472E-8CEF-2273DA7F14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601" y="4186695"/>
            <a:ext cx="6652684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673601" y="4905895"/>
            <a:ext cx="6652684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4673601" y="5334313"/>
            <a:ext cx="6652684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CB8B25-ED62-4AA0-8FC9-5FEF6FF9DD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23C9AD-9DA6-4916-8781-5791C1DF15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600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639A32-C6AC-4FFA-BA13-5388210DFF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0"/>
            <a:ext cx="12192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1D20FC-E18B-48E1-AD1E-58A49DEA64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C174A-92B6-454F-A2BA-546D86BFE79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9304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>
                <a:latin typeface="Century Gothic" panose="020B0502020202020204" pitchFamily="34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990003" y="6505344"/>
            <a:ext cx="9982796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19200" y="1219200"/>
            <a:ext cx="97536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  <a:latin typeface="Century Gothic" panose="020B0502020202020204" pitchFamily="34" charset="0"/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93FF55-FE8E-4C01-9D2C-BD694A69F6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000" y="890"/>
            <a:ext cx="8128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42672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09728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1988" y="1600200"/>
            <a:ext cx="7328024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048401" y="6585944"/>
            <a:ext cx="8387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AB680E-A134-4672-9297-E110BB70D64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1" y="6520712"/>
            <a:ext cx="611015" cy="29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31546"/>
            <a:ext cx="12192000" cy="82600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202786" y="6184146"/>
            <a:ext cx="3786429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438400" y="685800"/>
            <a:ext cx="73152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44704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>
                <a:solidFill>
                  <a:schemeClr val="bg2"/>
                </a:solidFill>
              </a:rPr>
              <a:t>DRAF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B0055-4306-433A-B16A-4B04586F99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0" y="6107310"/>
            <a:ext cx="1371666" cy="67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277601" y="6585944"/>
            <a:ext cx="9144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Century Gothic" panose="020B0502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6DF0754-E467-4404-BC0B-1F8DEE32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Transportation Division</a:t>
            </a:r>
            <a:br>
              <a:rPr lang="en-US" sz="4000" dirty="0"/>
            </a:br>
            <a:r>
              <a:rPr lang="en-US" sz="4000" dirty="0"/>
              <a:t>Data Analytics Toolki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37AC8-5D04-4B81-91DA-CCD92FD29AE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62252-A90F-47F7-A489-3B1CD465659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77600" y="6586538"/>
            <a:ext cx="914400" cy="220662"/>
          </a:xfrm>
        </p:spPr>
        <p:txBody>
          <a:bodyPr/>
          <a:lstStyle/>
          <a:p>
            <a:fld id="{623B5F94-9D18-4CD7-A9B2-82F39252AE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893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0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291332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PostgreSQL: open-source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Century Gothic" panose="020B0502020202020204" pitchFamily="34" charset="0"/>
              </a:rPr>
              <a:t>PostGIS</a:t>
            </a:r>
            <a:r>
              <a:rPr lang="en-US" sz="2000" dirty="0">
                <a:latin typeface="Century Gothic" panose="020B0502020202020204" pitchFamily="34" charset="0"/>
              </a:rPr>
              <a:t>: spatial extension to Postgre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toring spatia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terface: Car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greSQL / </a:t>
            </a:r>
            <a:r>
              <a:rPr lang="en-US" dirty="0" err="1"/>
              <a:t>PostGIS</a:t>
            </a:r>
            <a:endParaRPr lang="en-US" dirty="0"/>
          </a:p>
        </p:txBody>
      </p:sp>
      <p:pic>
        <p:nvPicPr>
          <p:cNvPr id="10" name="Picture 4" descr="Image result for postgresql">
            <a:extLst>
              <a:ext uri="{FF2B5EF4-FFF2-40B4-BE49-F238E27FC236}">
                <a16:creationId xmlns:a16="http://schemas.microsoft.com/office/drawing/2014/main" id="{C74E16BF-7DF6-4068-8466-A14D066959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03" y="1376395"/>
            <a:ext cx="140336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Image result for postgis">
            <a:extLst>
              <a:ext uri="{FF2B5EF4-FFF2-40B4-BE49-F238E27FC236}">
                <a16:creationId xmlns:a16="http://schemas.microsoft.com/office/drawing/2014/main" id="{AE8909CB-52DF-4F30-A29A-19675E442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7230" y="1289490"/>
            <a:ext cx="1530350" cy="16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BB292D6-C78A-4AE6-BDBD-A72F8F85A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649325"/>
            <a:ext cx="5684302" cy="268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503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11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752997"/>
            <a:ext cx="562258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base administration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upports CSV, MS SQL Server, SQLite, PostgreSQL, MySQL, Oracle, IBM DB2, MS Access, etc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Beaver</a:t>
            </a:r>
            <a:endParaRPr lang="en-US" dirty="0"/>
          </a:p>
        </p:txBody>
      </p:sp>
      <p:pic>
        <p:nvPicPr>
          <p:cNvPr id="13" name="Picture 4" descr="https://dbeaver.io/wp-content/uploads/2015/09/beaver-head.png">
            <a:extLst>
              <a:ext uri="{FF2B5EF4-FFF2-40B4-BE49-F238E27FC236}">
                <a16:creationId xmlns:a16="http://schemas.microsoft.com/office/drawing/2014/main" id="{0FDA2854-2686-4771-854B-4FDC994EC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308550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11360A34-80D2-4CC9-89F0-87CD082FAE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94" y="3285036"/>
            <a:ext cx="5529413" cy="300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33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72B6F00-703D-4D7F-8C33-00D91C4CF8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B0B0074-13A8-4D44-98C6-DB9360DF39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2B219C-8830-424A-A475-770CF20C7B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numCol="2">
            <a:norm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Data Manipulati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Excel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Pyth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R</a:t>
            </a:r>
          </a:p>
          <a:p>
            <a:r>
              <a:rPr lang="en-US" dirty="0">
                <a:highlight>
                  <a:srgbClr val="FFFF00"/>
                </a:highlight>
              </a:rPr>
              <a:t>Spatial Data Manipulation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ArcGIS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QGIS</a:t>
            </a:r>
          </a:p>
          <a:p>
            <a:r>
              <a:rPr lang="en-US" dirty="0"/>
              <a:t>Interactive Chart</a:t>
            </a:r>
          </a:p>
          <a:p>
            <a:pPr lvl="1"/>
            <a:r>
              <a:rPr lang="en-US" dirty="0"/>
              <a:t>Tableau</a:t>
            </a:r>
          </a:p>
          <a:p>
            <a:pPr lvl="1"/>
            <a:r>
              <a:rPr lang="en-US" dirty="0" err="1"/>
              <a:t>Plotly</a:t>
            </a:r>
            <a:endParaRPr lang="en-US" dirty="0"/>
          </a:p>
          <a:p>
            <a:r>
              <a:rPr lang="en-US" dirty="0"/>
              <a:t>Interactive Map</a:t>
            </a:r>
          </a:p>
          <a:p>
            <a:pPr lvl="1"/>
            <a:r>
              <a:rPr lang="en-US" dirty="0"/>
              <a:t>AGOL</a:t>
            </a:r>
          </a:p>
          <a:p>
            <a:pPr lvl="1"/>
            <a:r>
              <a:rPr lang="en-US" dirty="0"/>
              <a:t>Carto</a:t>
            </a:r>
          </a:p>
          <a:p>
            <a:pPr lvl="1"/>
            <a:r>
              <a:rPr lang="en-US" dirty="0" err="1"/>
              <a:t>MapBox</a:t>
            </a:r>
            <a:r>
              <a:rPr lang="en-US" dirty="0"/>
              <a:t> GL</a:t>
            </a:r>
          </a:p>
          <a:p>
            <a:r>
              <a:rPr lang="en-US" dirty="0">
                <a:highlight>
                  <a:srgbClr val="FFFF00"/>
                </a:highlight>
              </a:rPr>
              <a:t>Database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MS SQL Server</a:t>
            </a:r>
          </a:p>
          <a:p>
            <a:pPr lvl="1"/>
            <a:r>
              <a:rPr lang="en-US" dirty="0">
                <a:highlight>
                  <a:srgbClr val="FFFF00"/>
                </a:highlight>
              </a:rPr>
              <a:t>SQLite / </a:t>
            </a:r>
            <a:r>
              <a:rPr lang="en-US" dirty="0" err="1">
                <a:highlight>
                  <a:srgbClr val="FFFF00"/>
                </a:highlight>
              </a:rPr>
              <a:t>SpatiaLite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PostgreSQL / </a:t>
            </a:r>
            <a:r>
              <a:rPr lang="en-US" dirty="0" err="1">
                <a:highlight>
                  <a:srgbClr val="FFFF00"/>
                </a:highlight>
              </a:rPr>
              <a:t>PostGIS</a:t>
            </a:r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 err="1">
                <a:highlight>
                  <a:srgbClr val="FFFF00"/>
                </a:highlight>
              </a:rPr>
              <a:t>DBeaver</a:t>
            </a:r>
            <a:endParaRPr lang="en-US" dirty="0">
              <a:highlight>
                <a:srgbClr val="FFFF00"/>
              </a:highlight>
            </a:endParaRPr>
          </a:p>
          <a:p>
            <a:r>
              <a:rPr lang="en-US" dirty="0"/>
              <a:t>Other Tools</a:t>
            </a:r>
          </a:p>
          <a:p>
            <a:pPr lvl="1"/>
            <a:r>
              <a:rPr lang="en-US" dirty="0"/>
              <a:t>GitHub</a:t>
            </a:r>
          </a:p>
          <a:p>
            <a:pPr lvl="1"/>
            <a:r>
              <a:rPr lang="en-US" dirty="0" err="1"/>
              <a:t>GeoSupport</a:t>
            </a:r>
            <a:endParaRPr lang="en-US" dirty="0"/>
          </a:p>
          <a:p>
            <a:pPr lvl="1"/>
            <a:r>
              <a:rPr lang="en-US" dirty="0"/>
              <a:t>Digital Ocean</a:t>
            </a:r>
          </a:p>
          <a:p>
            <a:r>
              <a:rPr lang="en-US" dirty="0"/>
              <a:t>VS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7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MS Exc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9AEF7-D354-428F-9188-F7B052287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3</a:t>
            </a:fld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C776A4-3BC2-4AB8-8BC3-E58FF4F73D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4" y="907605"/>
            <a:ext cx="1419744" cy="13721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481590"/>
            <a:ext cx="562258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Creating, reading, writing, manipulating, analyzing, and visualizing relatively small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Formulas (SUM, IF, VLOOKUP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Pivot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tatic chart / m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 Analysis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Macros with VBA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9FCA2261-4CA0-4902-AE94-E30868B95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2634126"/>
            <a:ext cx="6115579" cy="387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443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yth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4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173814"/>
            <a:ext cx="562258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Reading, writing, manipulating, analyzing, and visualizing relatively big data (general–purpose langua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Reproducibility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DE: Spyder / </a:t>
            </a:r>
            <a:r>
              <a:rPr lang="en-US" sz="2000" dirty="0" err="1">
                <a:latin typeface="Century Gothic" panose="020B0502020202020204" pitchFamily="34" charset="0"/>
              </a:rPr>
              <a:t>Jupyter</a:t>
            </a: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 wrangling: Pa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patial data: </a:t>
            </a:r>
            <a:r>
              <a:rPr lang="en-US" sz="2000" dirty="0" err="1">
                <a:latin typeface="Century Gothic" panose="020B0502020202020204" pitchFamily="34" charset="0"/>
              </a:rPr>
              <a:t>GeoPandas</a:t>
            </a:r>
            <a:r>
              <a:rPr lang="en-US" sz="2000" dirty="0"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teractive visualization: </a:t>
            </a:r>
            <a:r>
              <a:rPr lang="en-US" sz="2000" dirty="0" err="1">
                <a:latin typeface="Century Gothic" panose="020B0502020202020204" pitchFamily="34" charset="0"/>
              </a:rPr>
              <a:t>Plotly</a:t>
            </a: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shboard / App: </a:t>
            </a:r>
            <a:r>
              <a:rPr lang="en-US" sz="2000" dirty="0" err="1">
                <a:latin typeface="Century Gothic" panose="020B0502020202020204" pitchFamily="34" charset="0"/>
              </a:rPr>
              <a:t>Streamlit</a:t>
            </a:r>
            <a:r>
              <a:rPr lang="en-US" sz="2000" dirty="0">
                <a:latin typeface="Century Gothic" panose="020B0502020202020204" pitchFamily="34" charset="0"/>
              </a:rPr>
              <a:t> / Da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00941-0008-4A9B-8644-0762D1C07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70" y="3225194"/>
            <a:ext cx="5761860" cy="3103233"/>
          </a:xfrm>
          <a:prstGeom prst="rect">
            <a:avLst/>
          </a:prstGeom>
        </p:spPr>
      </p:pic>
      <p:pic>
        <p:nvPicPr>
          <p:cNvPr id="13" name="Picture 2" descr="pythonâ¢">
            <a:extLst>
              <a:ext uri="{FF2B5EF4-FFF2-40B4-BE49-F238E27FC236}">
                <a16:creationId xmlns:a16="http://schemas.microsoft.com/office/drawing/2014/main" id="{4E1619A1-A014-42B4-8D8E-FD6DCF2C3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236" y="728181"/>
            <a:ext cx="2619528" cy="740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>
            <a:extLst>
              <a:ext uri="{FF2B5EF4-FFF2-40B4-BE49-F238E27FC236}">
                <a16:creationId xmlns:a16="http://schemas.microsoft.com/office/drawing/2014/main" id="{4AF1C85E-BC7C-44B4-8826-B4529904E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67" y="1976289"/>
            <a:ext cx="2027935" cy="10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477756-05EC-4C06-A315-75A97DE3F4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774" y="1976287"/>
            <a:ext cx="951170" cy="10116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89A40A-8813-4D37-ADCA-347DFBF086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6916" y="2004811"/>
            <a:ext cx="983176" cy="98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60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D865E-669D-44D4-944D-85B86ECAC1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1481590"/>
            <a:ext cx="562258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Reading, writing, manipulating, analyzing, and visualizing relatively big data (optimized for statisticia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DE: R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 wrangling: </a:t>
            </a:r>
            <a:r>
              <a:rPr lang="en-US" sz="2000" dirty="0" err="1">
                <a:latin typeface="Century Gothic" panose="020B0502020202020204" pitchFamily="34" charset="0"/>
              </a:rPr>
              <a:t>tidyverse</a:t>
            </a:r>
            <a:r>
              <a:rPr lang="en-US" sz="2000" dirty="0">
                <a:latin typeface="Century Gothic" panose="020B0502020202020204" pitchFamily="34" charset="0"/>
              </a:rPr>
              <a:t> (</a:t>
            </a:r>
            <a:r>
              <a:rPr lang="en-US" sz="2000" dirty="0" err="1">
                <a:latin typeface="Century Gothic" panose="020B0502020202020204" pitchFamily="34" charset="0"/>
              </a:rPr>
              <a:t>dplyr</a:t>
            </a:r>
            <a:r>
              <a:rPr lang="en-US" sz="2000" dirty="0"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patial data: s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teractive visualization: </a:t>
            </a:r>
            <a:r>
              <a:rPr lang="en-US" sz="2000" dirty="0" err="1">
                <a:latin typeface="Century Gothic" panose="020B0502020202020204" pitchFamily="34" charset="0"/>
              </a:rPr>
              <a:t>Plotly</a:t>
            </a: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shboard / App: R Markdown / R Shiny</a:t>
            </a:r>
          </a:p>
        </p:txBody>
      </p:sp>
      <p:pic>
        <p:nvPicPr>
          <p:cNvPr id="15" name="Picture 2" descr="Image result for r studio">
            <a:extLst>
              <a:ext uri="{FF2B5EF4-FFF2-40B4-BE49-F238E27FC236}">
                <a16:creationId xmlns:a16="http://schemas.microsoft.com/office/drawing/2014/main" id="{B1D53B06-EA63-43EC-9CEB-546BA1FE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77" y="3285039"/>
            <a:ext cx="5649247" cy="30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0AF180C6-B783-4290-AF65-8CA8DFAE2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17" y="1371599"/>
            <a:ext cx="1284567" cy="99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>
            <a:extLst>
              <a:ext uri="{FF2B5EF4-FFF2-40B4-BE49-F238E27FC236}">
                <a16:creationId xmlns:a16="http://schemas.microsoft.com/office/drawing/2014/main" id="{8911FB13-08CD-406D-88CA-9514A4C30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01" y="1371598"/>
            <a:ext cx="2834399" cy="99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683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6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60760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Proprietary GIS software by ES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Creating, reading, writing, manipulating, analyzing, and visualizing 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 format: Shapefile, Geodatabas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ArcGIS Pro replacing ArcMap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rcGIS Desktop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CFD3BCFF-4DDF-4824-99CE-4C53578D7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" y="1071519"/>
            <a:ext cx="1693263" cy="169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4B36E673-4F22-4438-B49F-A1CE184E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64" y="3234490"/>
            <a:ext cx="5461472" cy="3054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>
            <a:extLst>
              <a:ext uri="{FF2B5EF4-FFF2-40B4-BE49-F238E27FC236}">
                <a16:creationId xmlns:a16="http://schemas.microsoft.com/office/drawing/2014/main" id="{64073112-7D1E-4604-8394-7DDB09494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45" y="1328563"/>
            <a:ext cx="2923572" cy="11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580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EEDB54-D7BD-451D-80FB-8330B2F44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706" y="3234490"/>
            <a:ext cx="5673929" cy="305428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63E4FD-2016-4BF6-A257-CDA6F71DE56C}"/>
              </a:ext>
            </a:extLst>
          </p:cNvPr>
          <p:cNvSpPr/>
          <p:nvPr/>
        </p:nvSpPr>
        <p:spPr>
          <a:xfrm>
            <a:off x="6096000" y="551265"/>
            <a:ext cx="6096000" cy="6306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7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6" y="2291332"/>
            <a:ext cx="56225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Open-source GI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Creating, reading, writing, manipulating, analyzing, and visualizing spati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Data format: Shapefile, </a:t>
            </a:r>
            <a:r>
              <a:rPr lang="en-US" sz="2000" dirty="0" err="1">
                <a:latin typeface="Century Gothic" panose="020B0502020202020204" pitchFamily="34" charset="0"/>
              </a:rPr>
              <a:t>GeoJSON</a:t>
            </a:r>
            <a:r>
              <a:rPr lang="en-US" sz="2000" dirty="0">
                <a:latin typeface="Century Gothic" panose="020B0502020202020204" pitchFamily="34" charset="0"/>
              </a:rPr>
              <a:t>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Toolbox and plugins for geoprocess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GIS</a:t>
            </a:r>
          </a:p>
        </p:txBody>
      </p:sp>
      <p:pic>
        <p:nvPicPr>
          <p:cNvPr id="13" name="Picture 2" descr="Image result for qgis">
            <a:extLst>
              <a:ext uri="{FF2B5EF4-FFF2-40B4-BE49-F238E27FC236}">
                <a16:creationId xmlns:a16="http://schemas.microsoft.com/office/drawing/2014/main" id="{3927438C-6923-4E24-819F-406E55AF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70" y="984827"/>
            <a:ext cx="1981200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522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097143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Commercial client/server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Managed by IT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toring confidential datasets (TLC da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terface: SQL Server Management Studio / </a:t>
            </a:r>
            <a:r>
              <a:rPr lang="en-US" sz="2000" dirty="0" err="1">
                <a:latin typeface="Century Gothic" panose="020B0502020202020204" pitchFamily="34" charset="0"/>
              </a:rPr>
              <a:t>DBeaver</a:t>
            </a:r>
            <a:endParaRPr lang="en-US" sz="2000" dirty="0">
              <a:latin typeface="Century Gothic" panose="020B0502020202020204" pitchFamily="34" charset="0"/>
            </a:endParaRPr>
          </a:p>
        </p:txBody>
      </p:sp>
      <p:pic>
        <p:nvPicPr>
          <p:cNvPr id="15362" name="Picture 2" descr="Microsoft SQL Server">
            <a:extLst>
              <a:ext uri="{FF2B5EF4-FFF2-40B4-BE49-F238E27FC236}">
                <a16:creationId xmlns:a16="http://schemas.microsoft.com/office/drawing/2014/main" id="{BEBB30B3-1B53-44B0-965D-E3C8AE9CC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5" y="1094249"/>
            <a:ext cx="2285582" cy="165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QL Server Management Studio">
            <a:extLst>
              <a:ext uri="{FF2B5EF4-FFF2-40B4-BE49-F238E27FC236}">
                <a16:creationId xmlns:a16="http://schemas.microsoft.com/office/drawing/2014/main" id="{BC5FFD80-D9F3-48EA-8FB4-84E60CF5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046" y="1094248"/>
            <a:ext cx="1619553" cy="165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Screenshot of the SQL Server Management Studio.">
            <a:extLst>
              <a:ext uri="{FF2B5EF4-FFF2-40B4-BE49-F238E27FC236}">
                <a16:creationId xmlns:a16="http://schemas.microsoft.com/office/drawing/2014/main" id="{D1EE145B-0E11-4C33-AE8C-F0ADDFF32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05" y="3285038"/>
            <a:ext cx="5622589" cy="300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2EB537B-9BF0-4198-9E08-80518F9FF8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S SQL Server</a:t>
            </a:r>
          </a:p>
        </p:txBody>
      </p:sp>
    </p:spTree>
    <p:extLst>
      <p:ext uri="{BB962C8B-B14F-4D97-AF65-F5344CB8AC3E}">
        <p14:creationId xmlns:p14="http://schemas.microsoft.com/office/powerpoint/2010/main" val="12194557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060911-6713-468A-8FC5-139486057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0C1B5-7D6D-4782-AF60-54FD227E84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23B5F94-9D18-4CD7-A9B2-82F39252AEEB}" type="slidenum">
              <a:rPr lang="en-US" smtClean="0">
                <a:latin typeface="Century Gothic" panose="020B0502020202020204" pitchFamily="34" charset="0"/>
              </a:rPr>
              <a:pPr/>
              <a:t>9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5E558-D0A8-46B0-A965-8FD127CD5902}"/>
              </a:ext>
            </a:extLst>
          </p:cNvPr>
          <p:cNvSpPr txBox="1"/>
          <p:nvPr/>
        </p:nvSpPr>
        <p:spPr>
          <a:xfrm>
            <a:off x="6332707" y="2137444"/>
            <a:ext cx="56225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QLite: open-source file-based relational database managem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Century Gothic" panose="020B0502020202020204" pitchFamily="34" charset="0"/>
              </a:rPr>
              <a:t>SpatiaLite</a:t>
            </a:r>
            <a:r>
              <a:rPr lang="en-US" sz="2000" dirty="0">
                <a:latin typeface="Century Gothic" panose="020B0502020202020204" pitchFamily="34" charset="0"/>
              </a:rPr>
              <a:t>: spatial extension to SQL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Storing large public datasets into single data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terface: </a:t>
            </a:r>
            <a:r>
              <a:rPr lang="en-US" sz="2000" dirty="0" err="1">
                <a:latin typeface="Century Gothic" panose="020B0502020202020204" pitchFamily="34" charset="0"/>
              </a:rPr>
              <a:t>DBeaver</a:t>
            </a:r>
            <a:r>
              <a:rPr lang="en-US" sz="2000" dirty="0">
                <a:latin typeface="Century Gothic" panose="020B0502020202020204" pitchFamily="34" charset="0"/>
              </a:rPr>
              <a:t> / QG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EF277F-6B00-42BB-ADBB-73D8CE6D29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QLite / </a:t>
            </a:r>
            <a:r>
              <a:rPr lang="en-US" dirty="0" err="1"/>
              <a:t>SpatiaLite</a:t>
            </a:r>
            <a:endParaRPr lang="en-US" dirty="0"/>
          </a:p>
        </p:txBody>
      </p:sp>
      <p:pic>
        <p:nvPicPr>
          <p:cNvPr id="13" name="Picture 2" descr="Image result for sqlite">
            <a:extLst>
              <a:ext uri="{FF2B5EF4-FFF2-40B4-BE49-F238E27FC236}">
                <a16:creationId xmlns:a16="http://schemas.microsoft.com/office/drawing/2014/main" id="{69D355EA-98ED-4826-96B5-13772FCC3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0" y="1364318"/>
            <a:ext cx="2339622" cy="110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patialite">
            <a:extLst>
              <a:ext uri="{FF2B5EF4-FFF2-40B4-BE49-F238E27FC236}">
                <a16:creationId xmlns:a16="http://schemas.microsoft.com/office/drawing/2014/main" id="{525BBD57-A4F8-417A-BED1-98FA7783A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011" y="1194251"/>
            <a:ext cx="1635931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C33337-80E1-4C32-80CA-D9CA3DFE6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705" y="3285036"/>
            <a:ext cx="5588350" cy="300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46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8683BF15C0B438181A3514E653300" ma:contentTypeVersion="11" ma:contentTypeDescription="Create a new document." ma:contentTypeScope="" ma:versionID="db0092f5b97e9b7a45ea89df57b44f35">
  <xsd:schema xmlns:xsd="http://www.w3.org/2001/XMLSchema" xmlns:xs="http://www.w3.org/2001/XMLSchema" xmlns:p="http://schemas.microsoft.com/office/2006/metadata/properties" xmlns:ns2="dba7100d-d0af-4b51-96b3-992afff4d7d0" xmlns:ns3="4eab1d2f-0a6f-43b5-bd47-0cc182e7f81d" targetNamespace="http://schemas.microsoft.com/office/2006/metadata/properties" ma:root="true" ma:fieldsID="3a298f5afce02a9514035c89ec7b6266" ns2:_="" ns3:_="">
    <xsd:import namespace="dba7100d-d0af-4b51-96b3-992afff4d7d0"/>
    <xsd:import namespace="4eab1d2f-0a6f-43b5-bd47-0cc182e7f8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7100d-d0af-4b51-96b3-992afff4d7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ab1d2f-0a6f-43b5-bd47-0cc182e7f8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02D777-DAB2-40D0-840A-EFF21DA05A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01E324-1004-4409-A7B0-BC016601FFDD}">
  <ds:schemaRefs>
    <ds:schemaRef ds:uri="4eab1d2f-0a6f-43b5-bd47-0cc182e7f81d"/>
    <ds:schemaRef ds:uri="dba7100d-d0af-4b51-96b3-992afff4d7d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62DB769-28C8-439C-9D78-F1FE65DF9D3B}">
  <ds:schemaRefs>
    <ds:schemaRef ds:uri="4eab1d2f-0a6f-43b5-bd47-0cc182e7f81d"/>
    <ds:schemaRef ds:uri="dba7100d-d0af-4b51-96b3-992afff4d7d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1</TotalTime>
  <Words>365</Words>
  <Application>Microsoft Office PowerPoint</Application>
  <PresentationFormat>Widescreen</PresentationFormat>
  <Paragraphs>11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entury Gothic</vt:lpstr>
      <vt:lpstr>DCP PPT Template (Letter)</vt:lpstr>
      <vt:lpstr>think-cell Slide</vt:lpstr>
      <vt:lpstr>Transportation Division Data Analytics Toolkit</vt:lpstr>
      <vt:lpstr>Overview</vt:lpstr>
      <vt:lpstr>MS Excel</vt:lpstr>
      <vt:lpstr>Python</vt:lpstr>
      <vt:lpstr>R</vt:lpstr>
      <vt:lpstr>ArcGIS Desktop</vt:lpstr>
      <vt:lpstr>QGIS</vt:lpstr>
      <vt:lpstr>MS SQL Server</vt:lpstr>
      <vt:lpstr>SQLite / SpatiaLite</vt:lpstr>
      <vt:lpstr>PostgreSQL / PostGIS</vt:lpstr>
      <vt:lpstr>DBeaver</vt:lpstr>
    </vt:vector>
  </TitlesOfParts>
  <Company>D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 PowerPoint template</dc:title>
  <dc:creator>Amanda Eyer</dc:creator>
  <cp:lastModifiedBy>Yijun Ma (DCP)</cp:lastModifiedBy>
  <cp:revision>336</cp:revision>
  <cp:lastPrinted>2018-05-10T14:38:56Z</cp:lastPrinted>
  <dcterms:created xsi:type="dcterms:W3CDTF">2018-01-22T17:51:11Z</dcterms:created>
  <dcterms:modified xsi:type="dcterms:W3CDTF">2022-02-21T08:3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8683BF15C0B438181A3514E653300</vt:lpwstr>
  </property>
</Properties>
</file>